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</p:sldMasterIdLst>
  <p:notesMasterIdLst>
    <p:notesMasterId r:id="rId42"/>
  </p:notesMasterIdLst>
  <p:sldIdLst>
    <p:sldId id="1722" r:id="rId4"/>
    <p:sldId id="4642" r:id="rId5"/>
    <p:sldId id="1731" r:id="rId6"/>
    <p:sldId id="1635" r:id="rId7"/>
    <p:sldId id="2260" r:id="rId8"/>
    <p:sldId id="4888" r:id="rId9"/>
    <p:sldId id="2244" r:id="rId10"/>
    <p:sldId id="4630" r:id="rId11"/>
    <p:sldId id="4631" r:id="rId12"/>
    <p:sldId id="1726" r:id="rId13"/>
    <p:sldId id="4627" r:id="rId14"/>
    <p:sldId id="1728" r:id="rId15"/>
    <p:sldId id="4889" r:id="rId16"/>
    <p:sldId id="4890" r:id="rId17"/>
    <p:sldId id="2265" r:id="rId18"/>
    <p:sldId id="2263" r:id="rId19"/>
    <p:sldId id="4671" r:id="rId20"/>
    <p:sldId id="2272" r:id="rId21"/>
    <p:sldId id="2274" r:id="rId22"/>
    <p:sldId id="2276" r:id="rId23"/>
    <p:sldId id="4643" r:id="rId24"/>
    <p:sldId id="4891" r:id="rId25"/>
    <p:sldId id="4892" r:id="rId26"/>
    <p:sldId id="4681" r:id="rId27"/>
    <p:sldId id="4682" r:id="rId28"/>
    <p:sldId id="4683" r:id="rId29"/>
    <p:sldId id="4684" r:id="rId30"/>
    <p:sldId id="4685" r:id="rId31"/>
    <p:sldId id="4686" r:id="rId32"/>
    <p:sldId id="4687" r:id="rId33"/>
    <p:sldId id="1171" r:id="rId34"/>
    <p:sldId id="1483" r:id="rId35"/>
    <p:sldId id="2388" r:id="rId36"/>
    <p:sldId id="4819" r:id="rId37"/>
    <p:sldId id="4820" r:id="rId38"/>
    <p:sldId id="4589" r:id="rId39"/>
    <p:sldId id="1480" r:id="rId40"/>
    <p:sldId id="4821" r:id="rId41"/>
  </p:sldIdLst>
  <p:sldSz cx="12192000" cy="6858000"/>
  <p:notesSz cx="6858000" cy="9144000"/>
  <p:embeddedFontLst>
    <p:embeddedFont>
      <p:font typeface="Calibri" panose="020F0502020204030204" pitchFamily="34" charset="0"/>
      <p:regular r:id="rId43"/>
      <p:bold r:id="rId44"/>
      <p:italic r:id="rId45"/>
      <p:boldItalic r:id="rId46"/>
    </p:embeddedFont>
    <p:embeddedFont>
      <p:font typeface="Calibri Light" panose="020F0302020204030204" pitchFamily="34" charset="0"/>
      <p:regular r:id="rId47"/>
      <p:italic r:id="rId48"/>
    </p:embeddedFont>
  </p:embeddedFontLst>
  <p:custDataLst>
    <p:tags r:id="rId49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00FF"/>
    <a:srgbClr val="00FF00"/>
    <a:srgbClr val="0000FF"/>
    <a:srgbClr val="000000"/>
    <a:srgbClr val="F3D9DC"/>
    <a:srgbClr val="EFCCCF"/>
    <a:srgbClr val="FFFFFF"/>
    <a:srgbClr val="F7E7E9"/>
    <a:srgbClr val="B0C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6327" autoAdjust="0"/>
  </p:normalViewPr>
  <p:slideViewPr>
    <p:cSldViewPr snapToGrid="0">
      <p:cViewPr varScale="1">
        <p:scale>
          <a:sx n="66" d="100"/>
          <a:sy n="66" d="100"/>
        </p:scale>
        <p:origin x="930" y="7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03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notesMaster" Target="notesMasters/notesMaster1.xml"/><Relationship Id="rId47" Type="http://schemas.openxmlformats.org/officeDocument/2006/relationships/font" Target="fonts/font5.fntdata"/><Relationship Id="rId50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font" Target="fonts/font3.fntdata"/><Relationship Id="rId53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font" Target="fonts/font2.fntdata"/><Relationship Id="rId52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font" Target="fonts/font1.fntdata"/><Relationship Id="rId48" Type="http://schemas.openxmlformats.org/officeDocument/2006/relationships/font" Target="fonts/font6.fntdata"/><Relationship Id="rId8" Type="http://schemas.openxmlformats.org/officeDocument/2006/relationships/slide" Target="slides/slide5.xml"/><Relationship Id="rId51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font" Target="fonts/font4.fntdata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E$1:$QD$1</c:f>
              <c:strCache>
                <c:ptCount val="442"/>
                <c:pt idx="0">
                  <c:v>23-XII.20</c:v>
                </c:pt>
                <c:pt idx="1">
                  <c:v>24-XII.20</c:v>
                </c:pt>
                <c:pt idx="2">
                  <c:v>25-XII.20</c:v>
                </c:pt>
                <c:pt idx="3">
                  <c:v>26-XII.20</c:v>
                </c:pt>
                <c:pt idx="4">
                  <c:v>27.XII.20</c:v>
                </c:pt>
                <c:pt idx="5">
                  <c:v>28.XII.20</c:v>
                </c:pt>
                <c:pt idx="6">
                  <c:v>29.XII.20</c:v>
                </c:pt>
                <c:pt idx="7">
                  <c:v>30.XII.20</c:v>
                </c:pt>
                <c:pt idx="8">
                  <c:v>31.XII.20</c:v>
                </c:pt>
                <c:pt idx="9">
                  <c:v>1.I.21</c:v>
                </c:pt>
                <c:pt idx="10">
                  <c:v>2.I.21</c:v>
                </c:pt>
                <c:pt idx="11">
                  <c:v>3.I.21</c:v>
                </c:pt>
                <c:pt idx="12">
                  <c:v>4.I.21</c:v>
                </c:pt>
                <c:pt idx="13">
                  <c:v>5.I.21</c:v>
                </c:pt>
                <c:pt idx="14">
                  <c:v>6.I.21</c:v>
                </c:pt>
                <c:pt idx="15">
                  <c:v>7.I.21</c:v>
                </c:pt>
                <c:pt idx="16">
                  <c:v>8.I.21</c:v>
                </c:pt>
                <c:pt idx="17">
                  <c:v>9.I.21</c:v>
                </c:pt>
                <c:pt idx="18">
                  <c:v>10.I.21</c:v>
                </c:pt>
                <c:pt idx="19">
                  <c:v>11.I.21</c:v>
                </c:pt>
                <c:pt idx="20">
                  <c:v>12.I.21</c:v>
                </c:pt>
                <c:pt idx="21">
                  <c:v>13.I.21</c:v>
                </c:pt>
                <c:pt idx="22">
                  <c:v>14.I.21</c:v>
                </c:pt>
                <c:pt idx="23">
                  <c:v>15.I.21</c:v>
                </c:pt>
                <c:pt idx="24">
                  <c:v>16.I.21</c:v>
                </c:pt>
                <c:pt idx="25">
                  <c:v>17.I.21</c:v>
                </c:pt>
                <c:pt idx="26">
                  <c:v>18.I.21</c:v>
                </c:pt>
                <c:pt idx="27">
                  <c:v>19.I.21</c:v>
                </c:pt>
                <c:pt idx="28">
                  <c:v>20.I.21</c:v>
                </c:pt>
                <c:pt idx="29">
                  <c:v>21.I.21</c:v>
                </c:pt>
                <c:pt idx="30">
                  <c:v>22.I.21</c:v>
                </c:pt>
                <c:pt idx="31">
                  <c:v>23.I.21</c:v>
                </c:pt>
                <c:pt idx="32">
                  <c:v>24.I.21</c:v>
                </c:pt>
                <c:pt idx="33">
                  <c:v>25.I.21</c:v>
                </c:pt>
                <c:pt idx="34">
                  <c:v>26.I.21</c:v>
                </c:pt>
                <c:pt idx="35">
                  <c:v>27.I.21</c:v>
                </c:pt>
                <c:pt idx="36">
                  <c:v>28.I.21</c:v>
                </c:pt>
                <c:pt idx="37">
                  <c:v>29.I.21</c:v>
                </c:pt>
                <c:pt idx="38">
                  <c:v>30.I.21</c:v>
                </c:pt>
                <c:pt idx="39">
                  <c:v>31.I.21</c:v>
                </c:pt>
                <c:pt idx="40">
                  <c:v>1.II.21</c:v>
                </c:pt>
                <c:pt idx="41">
                  <c:v>2.II.21</c:v>
                </c:pt>
                <c:pt idx="42">
                  <c:v>3.II.21</c:v>
                </c:pt>
                <c:pt idx="43">
                  <c:v>4.II.21</c:v>
                </c:pt>
                <c:pt idx="44">
                  <c:v>5.II.21</c:v>
                </c:pt>
                <c:pt idx="45">
                  <c:v>6.II.21</c:v>
                </c:pt>
                <c:pt idx="46">
                  <c:v>7.II.21</c:v>
                </c:pt>
                <c:pt idx="47">
                  <c:v>8.II.21</c:v>
                </c:pt>
                <c:pt idx="48">
                  <c:v>9.II.21</c:v>
                </c:pt>
                <c:pt idx="49">
                  <c:v>10.II.21</c:v>
                </c:pt>
                <c:pt idx="50">
                  <c:v>11.II.21</c:v>
                </c:pt>
                <c:pt idx="51">
                  <c:v>12.II.21</c:v>
                </c:pt>
                <c:pt idx="52">
                  <c:v>13.II.21</c:v>
                </c:pt>
                <c:pt idx="53">
                  <c:v>14.II.21</c:v>
                </c:pt>
                <c:pt idx="54">
                  <c:v>15.II.21</c:v>
                </c:pt>
                <c:pt idx="55">
                  <c:v>16.II.21</c:v>
                </c:pt>
                <c:pt idx="56">
                  <c:v>17.II.21</c:v>
                </c:pt>
                <c:pt idx="57">
                  <c:v>18.II.21</c:v>
                </c:pt>
                <c:pt idx="58">
                  <c:v>19.II.21</c:v>
                </c:pt>
                <c:pt idx="59">
                  <c:v>20.II.21</c:v>
                </c:pt>
                <c:pt idx="60">
                  <c:v>21.II.21</c:v>
                </c:pt>
                <c:pt idx="61">
                  <c:v>22.II.21</c:v>
                </c:pt>
                <c:pt idx="62">
                  <c:v>23.II.21</c:v>
                </c:pt>
                <c:pt idx="63">
                  <c:v>24.II.21</c:v>
                </c:pt>
                <c:pt idx="64">
                  <c:v>25.II.21</c:v>
                </c:pt>
                <c:pt idx="65">
                  <c:v>26.II.21</c:v>
                </c:pt>
                <c:pt idx="66">
                  <c:v>27.II.21</c:v>
                </c:pt>
                <c:pt idx="67">
                  <c:v>28.II.21</c:v>
                </c:pt>
                <c:pt idx="68">
                  <c:v>1.III.21</c:v>
                </c:pt>
                <c:pt idx="69">
                  <c:v>2.III.21</c:v>
                </c:pt>
                <c:pt idx="70">
                  <c:v>3.III.21</c:v>
                </c:pt>
                <c:pt idx="71">
                  <c:v>4.III.21</c:v>
                </c:pt>
                <c:pt idx="72">
                  <c:v>5.III.21</c:v>
                </c:pt>
                <c:pt idx="73">
                  <c:v>6.III.21</c:v>
                </c:pt>
                <c:pt idx="74">
                  <c:v>7.III.21</c:v>
                </c:pt>
                <c:pt idx="75">
                  <c:v>8.III.21</c:v>
                </c:pt>
                <c:pt idx="76">
                  <c:v>9.III.21</c:v>
                </c:pt>
                <c:pt idx="77">
                  <c:v>10.III.21</c:v>
                </c:pt>
                <c:pt idx="78">
                  <c:v>11.III.21</c:v>
                </c:pt>
                <c:pt idx="79">
                  <c:v>12.III.21</c:v>
                </c:pt>
                <c:pt idx="80">
                  <c:v>13.III.21</c:v>
                </c:pt>
                <c:pt idx="81">
                  <c:v>14.III.21</c:v>
                </c:pt>
                <c:pt idx="82">
                  <c:v>15.III.21</c:v>
                </c:pt>
                <c:pt idx="83">
                  <c:v>16.III.21</c:v>
                </c:pt>
                <c:pt idx="84">
                  <c:v>17.III.21</c:v>
                </c:pt>
                <c:pt idx="85">
                  <c:v>18.III.21</c:v>
                </c:pt>
                <c:pt idx="86">
                  <c:v>19.III.21</c:v>
                </c:pt>
                <c:pt idx="87">
                  <c:v>20.III.21</c:v>
                </c:pt>
                <c:pt idx="88">
                  <c:v>21.III.21</c:v>
                </c:pt>
                <c:pt idx="89">
                  <c:v>22.III.21</c:v>
                </c:pt>
                <c:pt idx="90">
                  <c:v>23.III.21</c:v>
                </c:pt>
                <c:pt idx="91">
                  <c:v>24.III.21</c:v>
                </c:pt>
                <c:pt idx="92">
                  <c:v>25.III.21</c:v>
                </c:pt>
                <c:pt idx="93">
                  <c:v>26.III.21</c:v>
                </c:pt>
                <c:pt idx="94">
                  <c:v>27.III.21</c:v>
                </c:pt>
                <c:pt idx="95">
                  <c:v>28.III.21</c:v>
                </c:pt>
                <c:pt idx="96">
                  <c:v>29.III.21</c:v>
                </c:pt>
                <c:pt idx="97">
                  <c:v>30.III.21</c:v>
                </c:pt>
                <c:pt idx="98">
                  <c:v>31.III.21</c:v>
                </c:pt>
                <c:pt idx="99">
                  <c:v>1.IV.21</c:v>
                </c:pt>
                <c:pt idx="100">
                  <c:v>2.IV.21</c:v>
                </c:pt>
                <c:pt idx="101">
                  <c:v>3.IV.21</c:v>
                </c:pt>
                <c:pt idx="102">
                  <c:v>4.IV.21</c:v>
                </c:pt>
                <c:pt idx="103">
                  <c:v>5.IV.21</c:v>
                </c:pt>
                <c:pt idx="104">
                  <c:v>6.IV.21</c:v>
                </c:pt>
                <c:pt idx="105">
                  <c:v>7.IV.21</c:v>
                </c:pt>
                <c:pt idx="106">
                  <c:v>8.IV.21</c:v>
                </c:pt>
                <c:pt idx="107">
                  <c:v>9.IV.21</c:v>
                </c:pt>
                <c:pt idx="108">
                  <c:v>10.IV.21</c:v>
                </c:pt>
                <c:pt idx="109">
                  <c:v>11.IV.21</c:v>
                </c:pt>
                <c:pt idx="110">
                  <c:v>12.IV.21</c:v>
                </c:pt>
                <c:pt idx="111">
                  <c:v>13.IV.21</c:v>
                </c:pt>
                <c:pt idx="112">
                  <c:v>14.IV.21</c:v>
                </c:pt>
                <c:pt idx="113">
                  <c:v>15.IV.21</c:v>
                </c:pt>
                <c:pt idx="114">
                  <c:v>16.IV.21</c:v>
                </c:pt>
                <c:pt idx="115">
                  <c:v>17.IV.21</c:v>
                </c:pt>
                <c:pt idx="116">
                  <c:v>18.IV.21</c:v>
                </c:pt>
                <c:pt idx="117">
                  <c:v>19.IV.21</c:v>
                </c:pt>
                <c:pt idx="118">
                  <c:v>20.IV.21</c:v>
                </c:pt>
                <c:pt idx="119">
                  <c:v>21.IV.21</c:v>
                </c:pt>
                <c:pt idx="120">
                  <c:v>22.IV.21</c:v>
                </c:pt>
                <c:pt idx="121">
                  <c:v>23.IV.21</c:v>
                </c:pt>
                <c:pt idx="122">
                  <c:v>24.IV.21</c:v>
                </c:pt>
                <c:pt idx="123">
                  <c:v>25.IV.21</c:v>
                </c:pt>
                <c:pt idx="124">
                  <c:v>26.IV.21</c:v>
                </c:pt>
                <c:pt idx="125">
                  <c:v>27.IV.21</c:v>
                </c:pt>
                <c:pt idx="126">
                  <c:v>28.IV.21</c:v>
                </c:pt>
                <c:pt idx="127">
                  <c:v>29.IV.21</c:v>
                </c:pt>
                <c:pt idx="128">
                  <c:v>30.IV.21</c:v>
                </c:pt>
                <c:pt idx="129">
                  <c:v>1.V.21</c:v>
                </c:pt>
                <c:pt idx="130">
                  <c:v>2.V.21</c:v>
                </c:pt>
                <c:pt idx="131">
                  <c:v>3.V.21</c:v>
                </c:pt>
                <c:pt idx="132">
                  <c:v>4.V.21</c:v>
                </c:pt>
                <c:pt idx="133">
                  <c:v>5.V.21</c:v>
                </c:pt>
                <c:pt idx="134">
                  <c:v>6.V.21</c:v>
                </c:pt>
                <c:pt idx="135">
                  <c:v>7.V.21</c:v>
                </c:pt>
                <c:pt idx="136">
                  <c:v>8.V.21</c:v>
                </c:pt>
                <c:pt idx="137">
                  <c:v>9.V.21</c:v>
                </c:pt>
                <c:pt idx="138">
                  <c:v>10.V.21</c:v>
                </c:pt>
                <c:pt idx="139">
                  <c:v>11.V.21</c:v>
                </c:pt>
                <c:pt idx="140">
                  <c:v>12.V.21</c:v>
                </c:pt>
                <c:pt idx="141">
                  <c:v>13.V.21</c:v>
                </c:pt>
                <c:pt idx="142">
                  <c:v>14.V.21</c:v>
                </c:pt>
                <c:pt idx="143">
                  <c:v>15.V.21</c:v>
                </c:pt>
                <c:pt idx="144">
                  <c:v>16.V.21</c:v>
                </c:pt>
                <c:pt idx="145">
                  <c:v>17.V.21</c:v>
                </c:pt>
                <c:pt idx="146">
                  <c:v>18.V.21</c:v>
                </c:pt>
                <c:pt idx="147">
                  <c:v>19.V.21</c:v>
                </c:pt>
                <c:pt idx="148">
                  <c:v>20.V.21</c:v>
                </c:pt>
                <c:pt idx="149">
                  <c:v>21.V.21</c:v>
                </c:pt>
                <c:pt idx="150">
                  <c:v>22.V.21</c:v>
                </c:pt>
                <c:pt idx="151">
                  <c:v>23.V.21</c:v>
                </c:pt>
                <c:pt idx="152">
                  <c:v>24.V.21</c:v>
                </c:pt>
                <c:pt idx="153">
                  <c:v>25.V.21</c:v>
                </c:pt>
                <c:pt idx="154">
                  <c:v>26.V.21</c:v>
                </c:pt>
                <c:pt idx="155">
                  <c:v>27.V.21</c:v>
                </c:pt>
                <c:pt idx="156">
                  <c:v>28.V.21</c:v>
                </c:pt>
                <c:pt idx="157">
                  <c:v>29.V.21</c:v>
                </c:pt>
                <c:pt idx="158">
                  <c:v>30.V.21</c:v>
                </c:pt>
                <c:pt idx="159">
                  <c:v>31.V.21</c:v>
                </c:pt>
                <c:pt idx="160">
                  <c:v>1.VI.21</c:v>
                </c:pt>
                <c:pt idx="161">
                  <c:v>2.VI.21</c:v>
                </c:pt>
                <c:pt idx="162">
                  <c:v>3.VI.21</c:v>
                </c:pt>
                <c:pt idx="163">
                  <c:v>4.VI.21</c:v>
                </c:pt>
                <c:pt idx="164">
                  <c:v>5.VI.21</c:v>
                </c:pt>
                <c:pt idx="165">
                  <c:v>6.VI.21</c:v>
                </c:pt>
                <c:pt idx="166">
                  <c:v>7.VI.21</c:v>
                </c:pt>
                <c:pt idx="167">
                  <c:v>8.VI.21</c:v>
                </c:pt>
                <c:pt idx="168">
                  <c:v>9.VI.21</c:v>
                </c:pt>
                <c:pt idx="169">
                  <c:v>10.VI.21</c:v>
                </c:pt>
                <c:pt idx="170">
                  <c:v>11.VI.21</c:v>
                </c:pt>
                <c:pt idx="171">
                  <c:v>12.VI.21</c:v>
                </c:pt>
                <c:pt idx="172">
                  <c:v>13.VI.21</c:v>
                </c:pt>
                <c:pt idx="173">
                  <c:v>14.VI.21</c:v>
                </c:pt>
                <c:pt idx="174">
                  <c:v>15.VI.21</c:v>
                </c:pt>
                <c:pt idx="175">
                  <c:v>16.VI.21</c:v>
                </c:pt>
                <c:pt idx="176">
                  <c:v>17.VI.21</c:v>
                </c:pt>
                <c:pt idx="177">
                  <c:v>18.VI.21</c:v>
                </c:pt>
                <c:pt idx="178">
                  <c:v>19.VI.21</c:v>
                </c:pt>
                <c:pt idx="179">
                  <c:v>20.VI.21</c:v>
                </c:pt>
                <c:pt idx="180">
                  <c:v>21.VI.21</c:v>
                </c:pt>
                <c:pt idx="181">
                  <c:v>22.VI.21</c:v>
                </c:pt>
                <c:pt idx="182">
                  <c:v>23.VI.21</c:v>
                </c:pt>
                <c:pt idx="183">
                  <c:v>24.VI.21</c:v>
                </c:pt>
                <c:pt idx="184">
                  <c:v>25.VI.21</c:v>
                </c:pt>
                <c:pt idx="185">
                  <c:v>26.VI.21</c:v>
                </c:pt>
                <c:pt idx="186">
                  <c:v>27.VI.21</c:v>
                </c:pt>
                <c:pt idx="187">
                  <c:v>28.VI.21</c:v>
                </c:pt>
                <c:pt idx="188">
                  <c:v>29.VI.21</c:v>
                </c:pt>
                <c:pt idx="189">
                  <c:v>30.VI.21</c:v>
                </c:pt>
                <c:pt idx="190">
                  <c:v>1.VII.21</c:v>
                </c:pt>
                <c:pt idx="191">
                  <c:v>2.VII.21</c:v>
                </c:pt>
                <c:pt idx="192">
                  <c:v>3.VII.21</c:v>
                </c:pt>
                <c:pt idx="193">
                  <c:v>4.VII.21</c:v>
                </c:pt>
                <c:pt idx="194">
                  <c:v>5.VII.21</c:v>
                </c:pt>
                <c:pt idx="195">
                  <c:v>6.VII.21</c:v>
                </c:pt>
                <c:pt idx="196">
                  <c:v>7.VII.21</c:v>
                </c:pt>
                <c:pt idx="197">
                  <c:v>8.VII.21</c:v>
                </c:pt>
                <c:pt idx="198">
                  <c:v>9.VII.21</c:v>
                </c:pt>
                <c:pt idx="199">
                  <c:v>10.VII.21</c:v>
                </c:pt>
                <c:pt idx="200">
                  <c:v>11.VII.21</c:v>
                </c:pt>
                <c:pt idx="201">
                  <c:v>12.VII.21</c:v>
                </c:pt>
                <c:pt idx="202">
                  <c:v>13.VII.21</c:v>
                </c:pt>
                <c:pt idx="203">
                  <c:v>14.VII.21</c:v>
                </c:pt>
                <c:pt idx="204">
                  <c:v>15.VII.21</c:v>
                </c:pt>
                <c:pt idx="205">
                  <c:v>16.VII.21</c:v>
                </c:pt>
                <c:pt idx="206">
                  <c:v>17.VII.21</c:v>
                </c:pt>
                <c:pt idx="207">
                  <c:v>18.VII.21</c:v>
                </c:pt>
                <c:pt idx="208">
                  <c:v>19.VII.21</c:v>
                </c:pt>
                <c:pt idx="209">
                  <c:v>20.VII.21</c:v>
                </c:pt>
                <c:pt idx="210">
                  <c:v>21.VII.21</c:v>
                </c:pt>
                <c:pt idx="211">
                  <c:v>22.VII.21</c:v>
                </c:pt>
                <c:pt idx="212">
                  <c:v>23.VII.21</c:v>
                </c:pt>
                <c:pt idx="213">
                  <c:v>24.VII.21</c:v>
                </c:pt>
                <c:pt idx="214">
                  <c:v>25.VII.21</c:v>
                </c:pt>
                <c:pt idx="215">
                  <c:v>26.VII.21</c:v>
                </c:pt>
                <c:pt idx="216">
                  <c:v>27.VII.21</c:v>
                </c:pt>
                <c:pt idx="217">
                  <c:v>28.VII.21</c:v>
                </c:pt>
                <c:pt idx="218">
                  <c:v>29.VII.21</c:v>
                </c:pt>
                <c:pt idx="219">
                  <c:v>30.VII.21</c:v>
                </c:pt>
                <c:pt idx="220">
                  <c:v>31.VII.21</c:v>
                </c:pt>
                <c:pt idx="221">
                  <c:v>1.VIII.21</c:v>
                </c:pt>
                <c:pt idx="222">
                  <c:v>2.VIII.21</c:v>
                </c:pt>
                <c:pt idx="223">
                  <c:v>3.VIII.21</c:v>
                </c:pt>
                <c:pt idx="224">
                  <c:v>4.VIII.21</c:v>
                </c:pt>
                <c:pt idx="225">
                  <c:v>5.VIII.21</c:v>
                </c:pt>
                <c:pt idx="226">
                  <c:v>6.VIII.21</c:v>
                </c:pt>
                <c:pt idx="227">
                  <c:v>7.VIII.21</c:v>
                </c:pt>
                <c:pt idx="228">
                  <c:v>8.VIII.21</c:v>
                </c:pt>
                <c:pt idx="229">
                  <c:v>9.VIII.21</c:v>
                </c:pt>
                <c:pt idx="230">
                  <c:v>10.VIII.21</c:v>
                </c:pt>
                <c:pt idx="231">
                  <c:v>11.VIII.21</c:v>
                </c:pt>
                <c:pt idx="232">
                  <c:v>12.VIII.21</c:v>
                </c:pt>
                <c:pt idx="233">
                  <c:v>13.VIII.21</c:v>
                </c:pt>
                <c:pt idx="234">
                  <c:v>14.VIII.21</c:v>
                </c:pt>
                <c:pt idx="235">
                  <c:v>15.VIII.21</c:v>
                </c:pt>
                <c:pt idx="236">
                  <c:v>16.VIII.21</c:v>
                </c:pt>
                <c:pt idx="237">
                  <c:v>17.VIII.21</c:v>
                </c:pt>
                <c:pt idx="238">
                  <c:v>18.VIII.21</c:v>
                </c:pt>
                <c:pt idx="239">
                  <c:v>19.VIII.21</c:v>
                </c:pt>
                <c:pt idx="240">
                  <c:v>20.VIII.21</c:v>
                </c:pt>
                <c:pt idx="241">
                  <c:v>21.VIII.21</c:v>
                </c:pt>
                <c:pt idx="242">
                  <c:v>22.VIII.21</c:v>
                </c:pt>
                <c:pt idx="243">
                  <c:v>23.VIII.21</c:v>
                </c:pt>
                <c:pt idx="244">
                  <c:v>24.VIII.21</c:v>
                </c:pt>
                <c:pt idx="245">
                  <c:v>25.VIII.21</c:v>
                </c:pt>
                <c:pt idx="246">
                  <c:v>26.VIII.21</c:v>
                </c:pt>
                <c:pt idx="247">
                  <c:v>27.VIII.21</c:v>
                </c:pt>
                <c:pt idx="248">
                  <c:v>28.VIII.21</c:v>
                </c:pt>
                <c:pt idx="249">
                  <c:v>29.VIII.21</c:v>
                </c:pt>
                <c:pt idx="250">
                  <c:v>30.VIII.21</c:v>
                </c:pt>
                <c:pt idx="251">
                  <c:v>31.VIII.21</c:v>
                </c:pt>
                <c:pt idx="252">
                  <c:v>1.IX.21</c:v>
                </c:pt>
                <c:pt idx="253">
                  <c:v>2.IX.21</c:v>
                </c:pt>
                <c:pt idx="254">
                  <c:v>3.IX.21</c:v>
                </c:pt>
                <c:pt idx="255">
                  <c:v>4.IX.21</c:v>
                </c:pt>
                <c:pt idx="256">
                  <c:v>5.IX.21</c:v>
                </c:pt>
                <c:pt idx="257">
                  <c:v>6.IX.21</c:v>
                </c:pt>
                <c:pt idx="258">
                  <c:v>7.IX.21</c:v>
                </c:pt>
                <c:pt idx="259">
                  <c:v>8.IX.21</c:v>
                </c:pt>
                <c:pt idx="260">
                  <c:v>9.IX.21</c:v>
                </c:pt>
                <c:pt idx="261">
                  <c:v>10.IX.21</c:v>
                </c:pt>
                <c:pt idx="262">
                  <c:v>11.IX.21</c:v>
                </c:pt>
                <c:pt idx="263">
                  <c:v>12.IX.21</c:v>
                </c:pt>
                <c:pt idx="264">
                  <c:v>13.IX.21</c:v>
                </c:pt>
                <c:pt idx="265">
                  <c:v>14.IX.21</c:v>
                </c:pt>
                <c:pt idx="266">
                  <c:v>15.IX.21</c:v>
                </c:pt>
                <c:pt idx="267">
                  <c:v>16.IX.21</c:v>
                </c:pt>
                <c:pt idx="268">
                  <c:v>17.IX.21</c:v>
                </c:pt>
                <c:pt idx="269">
                  <c:v>18.IX.21</c:v>
                </c:pt>
                <c:pt idx="270">
                  <c:v>19.IX.21</c:v>
                </c:pt>
                <c:pt idx="271">
                  <c:v>20.IX.21</c:v>
                </c:pt>
                <c:pt idx="272">
                  <c:v>21.IX.21</c:v>
                </c:pt>
                <c:pt idx="273">
                  <c:v>22.IX.21</c:v>
                </c:pt>
                <c:pt idx="274">
                  <c:v>23.IX.21</c:v>
                </c:pt>
                <c:pt idx="275">
                  <c:v>24.IX.21</c:v>
                </c:pt>
                <c:pt idx="276">
                  <c:v>25.IX.21</c:v>
                </c:pt>
                <c:pt idx="277">
                  <c:v>26.IX.21</c:v>
                </c:pt>
                <c:pt idx="278">
                  <c:v>27.IX.21</c:v>
                </c:pt>
                <c:pt idx="279">
                  <c:v>28.IX.21</c:v>
                </c:pt>
                <c:pt idx="280">
                  <c:v>29.IX.21</c:v>
                </c:pt>
                <c:pt idx="281">
                  <c:v>30.IX.21</c:v>
                </c:pt>
                <c:pt idx="282">
                  <c:v>1.X.21</c:v>
                </c:pt>
                <c:pt idx="283">
                  <c:v>2.X.21</c:v>
                </c:pt>
                <c:pt idx="284">
                  <c:v>3.X.21</c:v>
                </c:pt>
                <c:pt idx="285">
                  <c:v>4.X.21</c:v>
                </c:pt>
                <c:pt idx="286">
                  <c:v>5.X.21</c:v>
                </c:pt>
                <c:pt idx="287">
                  <c:v>6.X.21</c:v>
                </c:pt>
                <c:pt idx="288">
                  <c:v>7.X.21</c:v>
                </c:pt>
                <c:pt idx="289">
                  <c:v>8.X.21</c:v>
                </c:pt>
                <c:pt idx="290">
                  <c:v>9.X.21</c:v>
                </c:pt>
                <c:pt idx="291">
                  <c:v>10.X.21</c:v>
                </c:pt>
                <c:pt idx="292">
                  <c:v>11.X.21</c:v>
                </c:pt>
                <c:pt idx="293">
                  <c:v>12.X.21</c:v>
                </c:pt>
                <c:pt idx="294">
                  <c:v>13.X.21</c:v>
                </c:pt>
                <c:pt idx="295">
                  <c:v>14.X.21</c:v>
                </c:pt>
                <c:pt idx="296">
                  <c:v>15.X.21</c:v>
                </c:pt>
                <c:pt idx="297">
                  <c:v>16.X.21</c:v>
                </c:pt>
                <c:pt idx="298">
                  <c:v>17.X.21</c:v>
                </c:pt>
                <c:pt idx="299">
                  <c:v>18.X.21</c:v>
                </c:pt>
                <c:pt idx="300">
                  <c:v>19.X.21</c:v>
                </c:pt>
                <c:pt idx="301">
                  <c:v>20.X.21</c:v>
                </c:pt>
                <c:pt idx="302">
                  <c:v>21.X.21</c:v>
                </c:pt>
                <c:pt idx="303">
                  <c:v>22.X.21</c:v>
                </c:pt>
                <c:pt idx="304">
                  <c:v>23.X.21</c:v>
                </c:pt>
                <c:pt idx="305">
                  <c:v>24.X.21</c:v>
                </c:pt>
                <c:pt idx="306">
                  <c:v>25.X.21</c:v>
                </c:pt>
                <c:pt idx="307">
                  <c:v>26.X.21</c:v>
                </c:pt>
                <c:pt idx="308">
                  <c:v>27.X.21</c:v>
                </c:pt>
                <c:pt idx="309">
                  <c:v>28.X.21</c:v>
                </c:pt>
                <c:pt idx="310">
                  <c:v>29.X.21</c:v>
                </c:pt>
                <c:pt idx="311">
                  <c:v>30.X.21</c:v>
                </c:pt>
                <c:pt idx="312">
                  <c:v>31.X.21</c:v>
                </c:pt>
                <c:pt idx="313">
                  <c:v>1.XI.21</c:v>
                </c:pt>
                <c:pt idx="314">
                  <c:v>2.XI.21</c:v>
                </c:pt>
                <c:pt idx="315">
                  <c:v>3.XI.21</c:v>
                </c:pt>
                <c:pt idx="316">
                  <c:v>4.XI.21</c:v>
                </c:pt>
                <c:pt idx="317">
                  <c:v>5.XI.21</c:v>
                </c:pt>
                <c:pt idx="318">
                  <c:v>6.XI.21</c:v>
                </c:pt>
                <c:pt idx="319">
                  <c:v>7.XI.21</c:v>
                </c:pt>
                <c:pt idx="320">
                  <c:v>8.XI.21</c:v>
                </c:pt>
                <c:pt idx="321">
                  <c:v>9.XI.21</c:v>
                </c:pt>
                <c:pt idx="322">
                  <c:v>10.XI.21</c:v>
                </c:pt>
                <c:pt idx="323">
                  <c:v>11.XI.21</c:v>
                </c:pt>
                <c:pt idx="324">
                  <c:v>12.XI.21</c:v>
                </c:pt>
                <c:pt idx="325">
                  <c:v>13.XI.21</c:v>
                </c:pt>
                <c:pt idx="326">
                  <c:v>14.XI.21</c:v>
                </c:pt>
                <c:pt idx="327">
                  <c:v>15.XI.21</c:v>
                </c:pt>
                <c:pt idx="328">
                  <c:v>16.XI.21</c:v>
                </c:pt>
                <c:pt idx="329">
                  <c:v>17.XI.21</c:v>
                </c:pt>
                <c:pt idx="330">
                  <c:v>18.XI.21</c:v>
                </c:pt>
                <c:pt idx="331">
                  <c:v>19.XI.21</c:v>
                </c:pt>
                <c:pt idx="332">
                  <c:v>20.XI.21</c:v>
                </c:pt>
                <c:pt idx="333">
                  <c:v>21.XI.21</c:v>
                </c:pt>
                <c:pt idx="334">
                  <c:v>22.XI.21</c:v>
                </c:pt>
                <c:pt idx="335">
                  <c:v>23.XI.21</c:v>
                </c:pt>
                <c:pt idx="336">
                  <c:v>24.XI.21</c:v>
                </c:pt>
                <c:pt idx="337">
                  <c:v>25.XI.21</c:v>
                </c:pt>
                <c:pt idx="338">
                  <c:v>26.XI.21</c:v>
                </c:pt>
                <c:pt idx="339">
                  <c:v>27.XI.21</c:v>
                </c:pt>
                <c:pt idx="340">
                  <c:v>28.XI.21</c:v>
                </c:pt>
                <c:pt idx="341">
                  <c:v>29.XI.21</c:v>
                </c:pt>
                <c:pt idx="342">
                  <c:v>30.XI.21</c:v>
                </c:pt>
                <c:pt idx="343">
                  <c:v>1.XII.21</c:v>
                </c:pt>
                <c:pt idx="344">
                  <c:v>2.XII.21</c:v>
                </c:pt>
                <c:pt idx="345">
                  <c:v>3.XII.21</c:v>
                </c:pt>
                <c:pt idx="346">
                  <c:v>4.XII.21</c:v>
                </c:pt>
                <c:pt idx="347">
                  <c:v>5.XII.21</c:v>
                </c:pt>
                <c:pt idx="348">
                  <c:v>6.XII.21</c:v>
                </c:pt>
                <c:pt idx="349">
                  <c:v>7.XII.21</c:v>
                </c:pt>
                <c:pt idx="350">
                  <c:v>8.XII.21</c:v>
                </c:pt>
                <c:pt idx="351">
                  <c:v>9.XII.21</c:v>
                </c:pt>
                <c:pt idx="352">
                  <c:v>10.XII.21</c:v>
                </c:pt>
                <c:pt idx="353">
                  <c:v>11.XII.21</c:v>
                </c:pt>
                <c:pt idx="354">
                  <c:v>12.XII.21</c:v>
                </c:pt>
                <c:pt idx="355">
                  <c:v>13.XII.21</c:v>
                </c:pt>
                <c:pt idx="356">
                  <c:v>14.XII.21</c:v>
                </c:pt>
                <c:pt idx="357">
                  <c:v>15.XII.21</c:v>
                </c:pt>
                <c:pt idx="358">
                  <c:v>16.XII.21</c:v>
                </c:pt>
                <c:pt idx="359">
                  <c:v>17.XII.21</c:v>
                </c:pt>
                <c:pt idx="360">
                  <c:v>18.XII.21</c:v>
                </c:pt>
                <c:pt idx="361">
                  <c:v>19.XII.21</c:v>
                </c:pt>
                <c:pt idx="362">
                  <c:v>20.XII.21</c:v>
                </c:pt>
                <c:pt idx="363">
                  <c:v>21.XII.21</c:v>
                </c:pt>
                <c:pt idx="364">
                  <c:v>22.XII.21</c:v>
                </c:pt>
                <c:pt idx="365">
                  <c:v>23.XII.21</c:v>
                </c:pt>
                <c:pt idx="366">
                  <c:v>24.XII.21</c:v>
                </c:pt>
                <c:pt idx="367">
                  <c:v>27.XII.21</c:v>
                </c:pt>
                <c:pt idx="368">
                  <c:v>28.XII.21</c:v>
                </c:pt>
                <c:pt idx="369">
                  <c:v>29.XII.21</c:v>
                </c:pt>
                <c:pt idx="370">
                  <c:v>30.XII.21</c:v>
                </c:pt>
                <c:pt idx="371">
                  <c:v>31.XII.21</c:v>
                </c:pt>
                <c:pt idx="372">
                  <c:v>2.I.22</c:v>
                </c:pt>
                <c:pt idx="373">
                  <c:v>3.I.22</c:v>
                </c:pt>
                <c:pt idx="374">
                  <c:v>4.I.22</c:v>
                </c:pt>
                <c:pt idx="375">
                  <c:v>5.I.22</c:v>
                </c:pt>
                <c:pt idx="376">
                  <c:v>6.I.22</c:v>
                </c:pt>
                <c:pt idx="377">
                  <c:v>7.I.22</c:v>
                </c:pt>
                <c:pt idx="378">
                  <c:v>8.I.22</c:v>
                </c:pt>
                <c:pt idx="379">
                  <c:v>9.I.22</c:v>
                </c:pt>
                <c:pt idx="380">
                  <c:v>10.I.22</c:v>
                </c:pt>
                <c:pt idx="381">
                  <c:v>11.I.22</c:v>
                </c:pt>
                <c:pt idx="382">
                  <c:v>12.I.22</c:v>
                </c:pt>
                <c:pt idx="383">
                  <c:v>13.I.22</c:v>
                </c:pt>
                <c:pt idx="384">
                  <c:v>14.I.22</c:v>
                </c:pt>
                <c:pt idx="385">
                  <c:v>15.I.22</c:v>
                </c:pt>
                <c:pt idx="386">
                  <c:v>16.I.22</c:v>
                </c:pt>
                <c:pt idx="387">
                  <c:v>17.I.22</c:v>
                </c:pt>
                <c:pt idx="388">
                  <c:v>18.I.22</c:v>
                </c:pt>
                <c:pt idx="389">
                  <c:v>19.I.22</c:v>
                </c:pt>
                <c:pt idx="390">
                  <c:v>20.I.22</c:v>
                </c:pt>
                <c:pt idx="391">
                  <c:v>21.I.22</c:v>
                </c:pt>
                <c:pt idx="392">
                  <c:v>22.I.22</c:v>
                </c:pt>
                <c:pt idx="393">
                  <c:v>23.I.22</c:v>
                </c:pt>
                <c:pt idx="394">
                  <c:v>24.I.22</c:v>
                </c:pt>
                <c:pt idx="395">
                  <c:v>25.I.22</c:v>
                </c:pt>
                <c:pt idx="396">
                  <c:v>26.I.22</c:v>
                </c:pt>
                <c:pt idx="397">
                  <c:v>27.I.22</c:v>
                </c:pt>
                <c:pt idx="398">
                  <c:v>28.I.22</c:v>
                </c:pt>
                <c:pt idx="399">
                  <c:v>29.I.22</c:v>
                </c:pt>
                <c:pt idx="400">
                  <c:v>30.I.22</c:v>
                </c:pt>
                <c:pt idx="401">
                  <c:v>31.I.22</c:v>
                </c:pt>
                <c:pt idx="402">
                  <c:v>1.II.22</c:v>
                </c:pt>
                <c:pt idx="403">
                  <c:v>2.II.22</c:v>
                </c:pt>
                <c:pt idx="404">
                  <c:v>3.II.22</c:v>
                </c:pt>
                <c:pt idx="405">
                  <c:v>4.II.22</c:v>
                </c:pt>
                <c:pt idx="406">
                  <c:v>5.II.22</c:v>
                </c:pt>
                <c:pt idx="407">
                  <c:v>6.II.22</c:v>
                </c:pt>
                <c:pt idx="408">
                  <c:v>7.II.22</c:v>
                </c:pt>
                <c:pt idx="409">
                  <c:v>8.II.22</c:v>
                </c:pt>
                <c:pt idx="410">
                  <c:v>9.II.22</c:v>
                </c:pt>
                <c:pt idx="411">
                  <c:v>10.II.22</c:v>
                </c:pt>
                <c:pt idx="412">
                  <c:v>11.II.22</c:v>
                </c:pt>
                <c:pt idx="413">
                  <c:v>12.II.22</c:v>
                </c:pt>
                <c:pt idx="414">
                  <c:v>14.II.22</c:v>
                </c:pt>
                <c:pt idx="415">
                  <c:v>15.II.22</c:v>
                </c:pt>
                <c:pt idx="416">
                  <c:v>16.II.22</c:v>
                </c:pt>
                <c:pt idx="417">
                  <c:v>17.II.22</c:v>
                </c:pt>
                <c:pt idx="418">
                  <c:v>18.II.22</c:v>
                </c:pt>
                <c:pt idx="419">
                  <c:v>19.II.22</c:v>
                </c:pt>
                <c:pt idx="420">
                  <c:v>21.II.22</c:v>
                </c:pt>
                <c:pt idx="421">
                  <c:v>22.II.22</c:v>
                </c:pt>
                <c:pt idx="422">
                  <c:v>23.II.22</c:v>
                </c:pt>
                <c:pt idx="423">
                  <c:v>24.II.22</c:v>
                </c:pt>
                <c:pt idx="424">
                  <c:v>25.II.22</c:v>
                </c:pt>
                <c:pt idx="425">
                  <c:v>28.II.22</c:v>
                </c:pt>
                <c:pt idx="426">
                  <c:v>1.III.22</c:v>
                </c:pt>
                <c:pt idx="427">
                  <c:v>2.III.22</c:v>
                </c:pt>
                <c:pt idx="428">
                  <c:v>3.III.22</c:v>
                </c:pt>
                <c:pt idx="429">
                  <c:v>4.III.22</c:v>
                </c:pt>
                <c:pt idx="430">
                  <c:v>5.III.22</c:v>
                </c:pt>
                <c:pt idx="431">
                  <c:v>7.III.22</c:v>
                </c:pt>
                <c:pt idx="432">
                  <c:v>8.III.22</c:v>
                </c:pt>
                <c:pt idx="433">
                  <c:v>9.III.22</c:v>
                </c:pt>
                <c:pt idx="434">
                  <c:v>10.III.22</c:v>
                </c:pt>
                <c:pt idx="435">
                  <c:v>11.III.22</c:v>
                </c:pt>
                <c:pt idx="436">
                  <c:v>12.III.22</c:v>
                </c:pt>
                <c:pt idx="437">
                  <c:v>14.III.22</c:v>
                </c:pt>
                <c:pt idx="438">
                  <c:v>15.III.22</c:v>
                </c:pt>
                <c:pt idx="439">
                  <c:v>16.III.22</c:v>
                </c:pt>
                <c:pt idx="440">
                  <c:v>17.III.22</c:v>
                </c:pt>
                <c:pt idx="441">
                  <c:v>18.III.22</c:v>
                </c:pt>
              </c:strCache>
            </c:strRef>
          </c:cat>
          <c:val>
            <c:numRef>
              <c:f>List1!$E$2:$QD$2</c:f>
              <c:numCache>
                <c:formatCode>General</c:formatCode>
                <c:ptCount val="442"/>
                <c:pt idx="4">
                  <c:v>1050</c:v>
                </c:pt>
                <c:pt idx="5">
                  <c:v>2942</c:v>
                </c:pt>
                <c:pt idx="6">
                  <c:v>5608</c:v>
                </c:pt>
                <c:pt idx="7">
                  <c:v>8311</c:v>
                </c:pt>
                <c:pt idx="8">
                  <c:v>9201</c:v>
                </c:pt>
                <c:pt idx="9">
                  <c:v>9437</c:v>
                </c:pt>
                <c:pt idx="10">
                  <c:v>10596</c:v>
                </c:pt>
                <c:pt idx="11">
                  <c:v>11438</c:v>
                </c:pt>
                <c:pt idx="12">
                  <c:v>14604</c:v>
                </c:pt>
                <c:pt idx="13">
                  <c:v>18521</c:v>
                </c:pt>
                <c:pt idx="14">
                  <c:v>23449</c:v>
                </c:pt>
                <c:pt idx="15">
                  <c:v>29279</c:v>
                </c:pt>
                <c:pt idx="16">
                  <c:v>36063</c:v>
                </c:pt>
                <c:pt idx="17">
                  <c:v>37226</c:v>
                </c:pt>
                <c:pt idx="18">
                  <c:v>38184</c:v>
                </c:pt>
                <c:pt idx="19">
                  <c:v>44592</c:v>
                </c:pt>
                <c:pt idx="20">
                  <c:v>52008</c:v>
                </c:pt>
                <c:pt idx="21">
                  <c:v>58617</c:v>
                </c:pt>
                <c:pt idx="22">
                  <c:v>65599</c:v>
                </c:pt>
                <c:pt idx="23">
                  <c:v>71790</c:v>
                </c:pt>
                <c:pt idx="24">
                  <c:v>72726</c:v>
                </c:pt>
                <c:pt idx="25">
                  <c:v>73274</c:v>
                </c:pt>
                <c:pt idx="26">
                  <c:v>77958</c:v>
                </c:pt>
                <c:pt idx="27">
                  <c:v>81756</c:v>
                </c:pt>
                <c:pt idx="28">
                  <c:v>85476</c:v>
                </c:pt>
                <c:pt idx="29">
                  <c:v>88862</c:v>
                </c:pt>
                <c:pt idx="30">
                  <c:v>91754</c:v>
                </c:pt>
                <c:pt idx="31">
                  <c:v>92142</c:v>
                </c:pt>
                <c:pt idx="32">
                  <c:v>92378</c:v>
                </c:pt>
                <c:pt idx="33">
                  <c:v>93986</c:v>
                </c:pt>
                <c:pt idx="34">
                  <c:v>95751</c:v>
                </c:pt>
                <c:pt idx="35">
                  <c:v>97199</c:v>
                </c:pt>
                <c:pt idx="36">
                  <c:v>98586</c:v>
                </c:pt>
                <c:pt idx="37">
                  <c:v>99866</c:v>
                </c:pt>
                <c:pt idx="38">
                  <c:v>99937</c:v>
                </c:pt>
                <c:pt idx="39">
                  <c:v>100008</c:v>
                </c:pt>
                <c:pt idx="40">
                  <c:v>100901</c:v>
                </c:pt>
                <c:pt idx="41">
                  <c:v>101769</c:v>
                </c:pt>
                <c:pt idx="42">
                  <c:v>102585</c:v>
                </c:pt>
                <c:pt idx="43">
                  <c:v>103293</c:v>
                </c:pt>
                <c:pt idx="44">
                  <c:v>104221</c:v>
                </c:pt>
                <c:pt idx="45">
                  <c:v>104272</c:v>
                </c:pt>
                <c:pt idx="46">
                  <c:v>104323</c:v>
                </c:pt>
                <c:pt idx="47">
                  <c:v>104963</c:v>
                </c:pt>
                <c:pt idx="48">
                  <c:v>105618</c:v>
                </c:pt>
                <c:pt idx="49">
                  <c:v>106482</c:v>
                </c:pt>
                <c:pt idx="50">
                  <c:v>107536</c:v>
                </c:pt>
                <c:pt idx="51">
                  <c:v>108738</c:v>
                </c:pt>
                <c:pt idx="52">
                  <c:v>109123</c:v>
                </c:pt>
                <c:pt idx="53">
                  <c:v>109307</c:v>
                </c:pt>
                <c:pt idx="54">
                  <c:v>110629</c:v>
                </c:pt>
                <c:pt idx="55">
                  <c:v>111920</c:v>
                </c:pt>
                <c:pt idx="56">
                  <c:v>113297</c:v>
                </c:pt>
                <c:pt idx="57">
                  <c:v>114861</c:v>
                </c:pt>
                <c:pt idx="58">
                  <c:v>116718</c:v>
                </c:pt>
                <c:pt idx="59">
                  <c:v>117179</c:v>
                </c:pt>
                <c:pt idx="60">
                  <c:v>117342</c:v>
                </c:pt>
                <c:pt idx="61">
                  <c:v>118933</c:v>
                </c:pt>
                <c:pt idx="62">
                  <c:v>121226</c:v>
                </c:pt>
                <c:pt idx="63">
                  <c:v>123727</c:v>
                </c:pt>
                <c:pt idx="64">
                  <c:v>126758</c:v>
                </c:pt>
                <c:pt idx="65">
                  <c:v>129363</c:v>
                </c:pt>
                <c:pt idx="66">
                  <c:v>129670</c:v>
                </c:pt>
                <c:pt idx="67">
                  <c:v>129891</c:v>
                </c:pt>
                <c:pt idx="68">
                  <c:v>132438</c:v>
                </c:pt>
                <c:pt idx="69">
                  <c:v>135194</c:v>
                </c:pt>
                <c:pt idx="70">
                  <c:v>137863</c:v>
                </c:pt>
                <c:pt idx="71">
                  <c:v>140318</c:v>
                </c:pt>
                <c:pt idx="72">
                  <c:v>143284</c:v>
                </c:pt>
                <c:pt idx="73">
                  <c:v>143991</c:v>
                </c:pt>
                <c:pt idx="74">
                  <c:v>144506</c:v>
                </c:pt>
                <c:pt idx="75">
                  <c:v>146454</c:v>
                </c:pt>
                <c:pt idx="76">
                  <c:v>148600</c:v>
                </c:pt>
                <c:pt idx="77">
                  <c:v>150848</c:v>
                </c:pt>
                <c:pt idx="78">
                  <c:v>153849</c:v>
                </c:pt>
                <c:pt idx="79">
                  <c:v>156469</c:v>
                </c:pt>
                <c:pt idx="80">
                  <c:v>157127</c:v>
                </c:pt>
                <c:pt idx="81">
                  <c:v>157696</c:v>
                </c:pt>
                <c:pt idx="82">
                  <c:v>159284</c:v>
                </c:pt>
                <c:pt idx="83">
                  <c:v>161615</c:v>
                </c:pt>
                <c:pt idx="84">
                  <c:v>163930</c:v>
                </c:pt>
                <c:pt idx="85">
                  <c:v>165958</c:v>
                </c:pt>
                <c:pt idx="86">
                  <c:v>168219</c:v>
                </c:pt>
                <c:pt idx="87">
                  <c:v>169094</c:v>
                </c:pt>
                <c:pt idx="88">
                  <c:v>169541</c:v>
                </c:pt>
                <c:pt idx="89">
                  <c:v>170694</c:v>
                </c:pt>
                <c:pt idx="90">
                  <c:v>171932</c:v>
                </c:pt>
                <c:pt idx="91">
                  <c:v>173001</c:v>
                </c:pt>
                <c:pt idx="92">
                  <c:v>174297</c:v>
                </c:pt>
                <c:pt idx="93">
                  <c:v>175675</c:v>
                </c:pt>
                <c:pt idx="94">
                  <c:v>176049</c:v>
                </c:pt>
                <c:pt idx="95">
                  <c:v>176393</c:v>
                </c:pt>
                <c:pt idx="96">
                  <c:v>177176</c:v>
                </c:pt>
                <c:pt idx="97">
                  <c:v>178205</c:v>
                </c:pt>
                <c:pt idx="98">
                  <c:v>179326</c:v>
                </c:pt>
                <c:pt idx="99">
                  <c:v>180430</c:v>
                </c:pt>
                <c:pt idx="100">
                  <c:v>180698</c:v>
                </c:pt>
                <c:pt idx="101">
                  <c:v>180818</c:v>
                </c:pt>
                <c:pt idx="102">
                  <c:v>180933</c:v>
                </c:pt>
                <c:pt idx="103">
                  <c:v>181005</c:v>
                </c:pt>
                <c:pt idx="104">
                  <c:v>181569</c:v>
                </c:pt>
                <c:pt idx="105">
                  <c:v>182243</c:v>
                </c:pt>
                <c:pt idx="106">
                  <c:v>183489</c:v>
                </c:pt>
                <c:pt idx="107">
                  <c:v>184766</c:v>
                </c:pt>
                <c:pt idx="108">
                  <c:v>185143</c:v>
                </c:pt>
                <c:pt idx="109">
                  <c:v>185393</c:v>
                </c:pt>
                <c:pt idx="110">
                  <c:v>186333</c:v>
                </c:pt>
                <c:pt idx="111">
                  <c:v>187148</c:v>
                </c:pt>
                <c:pt idx="112">
                  <c:v>188092</c:v>
                </c:pt>
                <c:pt idx="113">
                  <c:v>189460</c:v>
                </c:pt>
                <c:pt idx="114">
                  <c:v>191008</c:v>
                </c:pt>
                <c:pt idx="115">
                  <c:v>191431</c:v>
                </c:pt>
                <c:pt idx="116">
                  <c:v>191872</c:v>
                </c:pt>
                <c:pt idx="117">
                  <c:v>192979</c:v>
                </c:pt>
                <c:pt idx="118">
                  <c:v>194028</c:v>
                </c:pt>
                <c:pt idx="119">
                  <c:v>195320</c:v>
                </c:pt>
                <c:pt idx="120">
                  <c:v>196791</c:v>
                </c:pt>
                <c:pt idx="121">
                  <c:v>198306</c:v>
                </c:pt>
                <c:pt idx="122">
                  <c:v>198746</c:v>
                </c:pt>
                <c:pt idx="123">
                  <c:v>199120</c:v>
                </c:pt>
                <c:pt idx="124">
                  <c:v>200317</c:v>
                </c:pt>
                <c:pt idx="125">
                  <c:v>201407</c:v>
                </c:pt>
                <c:pt idx="126">
                  <c:v>202795</c:v>
                </c:pt>
                <c:pt idx="127">
                  <c:v>204271</c:v>
                </c:pt>
                <c:pt idx="128">
                  <c:v>205675</c:v>
                </c:pt>
                <c:pt idx="129">
                  <c:v>206012</c:v>
                </c:pt>
                <c:pt idx="130">
                  <c:v>206349</c:v>
                </c:pt>
                <c:pt idx="131">
                  <c:v>207432</c:v>
                </c:pt>
                <c:pt idx="132">
                  <c:v>208538</c:v>
                </c:pt>
                <c:pt idx="133">
                  <c:v>209685</c:v>
                </c:pt>
                <c:pt idx="134">
                  <c:v>210882</c:v>
                </c:pt>
                <c:pt idx="135">
                  <c:v>212188</c:v>
                </c:pt>
                <c:pt idx="136">
                  <c:v>212690</c:v>
                </c:pt>
                <c:pt idx="137">
                  <c:v>212999</c:v>
                </c:pt>
                <c:pt idx="138">
                  <c:v>213971</c:v>
                </c:pt>
                <c:pt idx="139">
                  <c:v>214999</c:v>
                </c:pt>
                <c:pt idx="140">
                  <c:v>216039</c:v>
                </c:pt>
                <c:pt idx="141">
                  <c:v>217181</c:v>
                </c:pt>
                <c:pt idx="142">
                  <c:v>218185</c:v>
                </c:pt>
                <c:pt idx="143">
                  <c:v>218627</c:v>
                </c:pt>
                <c:pt idx="144">
                  <c:v>218913</c:v>
                </c:pt>
                <c:pt idx="145">
                  <c:v>219701</c:v>
                </c:pt>
                <c:pt idx="146">
                  <c:v>220584</c:v>
                </c:pt>
                <c:pt idx="147">
                  <c:v>221494</c:v>
                </c:pt>
                <c:pt idx="148">
                  <c:v>222432</c:v>
                </c:pt>
                <c:pt idx="149">
                  <c:v>223361</c:v>
                </c:pt>
                <c:pt idx="150">
                  <c:v>223714</c:v>
                </c:pt>
                <c:pt idx="151">
                  <c:v>223943</c:v>
                </c:pt>
                <c:pt idx="152">
                  <c:v>224496</c:v>
                </c:pt>
                <c:pt idx="153">
                  <c:v>225125</c:v>
                </c:pt>
                <c:pt idx="154">
                  <c:v>225979</c:v>
                </c:pt>
                <c:pt idx="155">
                  <c:v>226761</c:v>
                </c:pt>
                <c:pt idx="156">
                  <c:v>227590</c:v>
                </c:pt>
                <c:pt idx="157">
                  <c:v>227957</c:v>
                </c:pt>
                <c:pt idx="158">
                  <c:v>228246</c:v>
                </c:pt>
                <c:pt idx="159">
                  <c:v>228942</c:v>
                </c:pt>
                <c:pt idx="160">
                  <c:v>229664</c:v>
                </c:pt>
                <c:pt idx="161">
                  <c:v>230554</c:v>
                </c:pt>
                <c:pt idx="162">
                  <c:v>231395</c:v>
                </c:pt>
                <c:pt idx="163">
                  <c:v>232286</c:v>
                </c:pt>
                <c:pt idx="164">
                  <c:v>232711</c:v>
                </c:pt>
                <c:pt idx="165">
                  <c:v>233117</c:v>
                </c:pt>
                <c:pt idx="166">
                  <c:v>234013</c:v>
                </c:pt>
                <c:pt idx="167">
                  <c:v>234999</c:v>
                </c:pt>
                <c:pt idx="168">
                  <c:v>235925</c:v>
                </c:pt>
                <c:pt idx="169">
                  <c:v>236806</c:v>
                </c:pt>
                <c:pt idx="170">
                  <c:v>237665</c:v>
                </c:pt>
                <c:pt idx="171">
                  <c:v>238195</c:v>
                </c:pt>
                <c:pt idx="172">
                  <c:v>238570</c:v>
                </c:pt>
                <c:pt idx="173">
                  <c:v>239240</c:v>
                </c:pt>
                <c:pt idx="174">
                  <c:v>240004</c:v>
                </c:pt>
                <c:pt idx="175">
                  <c:v>240709</c:v>
                </c:pt>
                <c:pt idx="176">
                  <c:v>241426</c:v>
                </c:pt>
                <c:pt idx="177">
                  <c:v>242103</c:v>
                </c:pt>
                <c:pt idx="178">
                  <c:v>242440</c:v>
                </c:pt>
                <c:pt idx="179">
                  <c:v>242701</c:v>
                </c:pt>
                <c:pt idx="180">
                  <c:v>243215</c:v>
                </c:pt>
                <c:pt idx="181">
                  <c:v>243805</c:v>
                </c:pt>
                <c:pt idx="182">
                  <c:v>244304</c:v>
                </c:pt>
                <c:pt idx="183">
                  <c:v>244807</c:v>
                </c:pt>
                <c:pt idx="184">
                  <c:v>245310</c:v>
                </c:pt>
                <c:pt idx="185">
                  <c:v>245567</c:v>
                </c:pt>
                <c:pt idx="186">
                  <c:v>245760</c:v>
                </c:pt>
                <c:pt idx="187">
                  <c:v>246258</c:v>
                </c:pt>
                <c:pt idx="188">
                  <c:v>246720</c:v>
                </c:pt>
                <c:pt idx="189">
                  <c:v>247203</c:v>
                </c:pt>
                <c:pt idx="190">
                  <c:v>247567</c:v>
                </c:pt>
                <c:pt idx="191">
                  <c:v>248052</c:v>
                </c:pt>
                <c:pt idx="192">
                  <c:v>248150</c:v>
                </c:pt>
                <c:pt idx="193">
                  <c:v>248268</c:v>
                </c:pt>
                <c:pt idx="194">
                  <c:v>248381</c:v>
                </c:pt>
                <c:pt idx="195">
                  <c:v>248482</c:v>
                </c:pt>
                <c:pt idx="196">
                  <c:v>248895</c:v>
                </c:pt>
                <c:pt idx="197">
                  <c:v>249346</c:v>
                </c:pt>
                <c:pt idx="198">
                  <c:v>249792</c:v>
                </c:pt>
                <c:pt idx="199">
                  <c:v>249960</c:v>
                </c:pt>
                <c:pt idx="200">
                  <c:v>250081</c:v>
                </c:pt>
                <c:pt idx="201">
                  <c:v>250527</c:v>
                </c:pt>
                <c:pt idx="202">
                  <c:v>250975</c:v>
                </c:pt>
                <c:pt idx="203">
                  <c:v>251465</c:v>
                </c:pt>
                <c:pt idx="204">
                  <c:v>251965</c:v>
                </c:pt>
                <c:pt idx="205">
                  <c:v>252454</c:v>
                </c:pt>
                <c:pt idx="206">
                  <c:v>252636</c:v>
                </c:pt>
                <c:pt idx="207">
                  <c:v>252783</c:v>
                </c:pt>
                <c:pt idx="208">
                  <c:v>253206</c:v>
                </c:pt>
                <c:pt idx="209">
                  <c:v>253561</c:v>
                </c:pt>
                <c:pt idx="210">
                  <c:v>254031</c:v>
                </c:pt>
                <c:pt idx="211">
                  <c:v>254426</c:v>
                </c:pt>
                <c:pt idx="212">
                  <c:v>254819</c:v>
                </c:pt>
                <c:pt idx="213">
                  <c:v>254930</c:v>
                </c:pt>
                <c:pt idx="214">
                  <c:v>255020</c:v>
                </c:pt>
                <c:pt idx="215">
                  <c:v>255411</c:v>
                </c:pt>
                <c:pt idx="216">
                  <c:v>255831</c:v>
                </c:pt>
                <c:pt idx="217">
                  <c:v>256194</c:v>
                </c:pt>
                <c:pt idx="218">
                  <c:v>256531</c:v>
                </c:pt>
                <c:pt idx="219">
                  <c:v>256951</c:v>
                </c:pt>
                <c:pt idx="220">
                  <c:v>257073</c:v>
                </c:pt>
                <c:pt idx="221">
                  <c:v>257176</c:v>
                </c:pt>
                <c:pt idx="222">
                  <c:v>257459</c:v>
                </c:pt>
                <c:pt idx="223">
                  <c:v>257727</c:v>
                </c:pt>
                <c:pt idx="224">
                  <c:v>258041</c:v>
                </c:pt>
                <c:pt idx="225">
                  <c:v>258307</c:v>
                </c:pt>
                <c:pt idx="226">
                  <c:v>258588</c:v>
                </c:pt>
                <c:pt idx="227">
                  <c:v>258661</c:v>
                </c:pt>
                <c:pt idx="228">
                  <c:v>258725</c:v>
                </c:pt>
                <c:pt idx="229">
                  <c:v>258936</c:v>
                </c:pt>
                <c:pt idx="230">
                  <c:v>259146</c:v>
                </c:pt>
                <c:pt idx="231">
                  <c:v>259309</c:v>
                </c:pt>
                <c:pt idx="232">
                  <c:v>259543</c:v>
                </c:pt>
                <c:pt idx="233">
                  <c:v>259735</c:v>
                </c:pt>
                <c:pt idx="234">
                  <c:v>259792</c:v>
                </c:pt>
                <c:pt idx="235">
                  <c:v>259838</c:v>
                </c:pt>
                <c:pt idx="236">
                  <c:v>260019</c:v>
                </c:pt>
                <c:pt idx="237">
                  <c:v>260201</c:v>
                </c:pt>
                <c:pt idx="238">
                  <c:v>260369</c:v>
                </c:pt>
                <c:pt idx="239">
                  <c:v>260533</c:v>
                </c:pt>
                <c:pt idx="240">
                  <c:v>260779</c:v>
                </c:pt>
                <c:pt idx="241">
                  <c:v>260821</c:v>
                </c:pt>
                <c:pt idx="242">
                  <c:v>260854</c:v>
                </c:pt>
                <c:pt idx="243">
                  <c:v>261056</c:v>
                </c:pt>
                <c:pt idx="244">
                  <c:v>261248</c:v>
                </c:pt>
                <c:pt idx="245">
                  <c:v>261415</c:v>
                </c:pt>
                <c:pt idx="246">
                  <c:v>261577</c:v>
                </c:pt>
                <c:pt idx="247">
                  <c:v>261797</c:v>
                </c:pt>
                <c:pt idx="248">
                  <c:v>261841</c:v>
                </c:pt>
                <c:pt idx="249">
                  <c:v>261874</c:v>
                </c:pt>
                <c:pt idx="250">
                  <c:v>262047</c:v>
                </c:pt>
                <c:pt idx="251">
                  <c:v>262212</c:v>
                </c:pt>
                <c:pt idx="252">
                  <c:v>262338</c:v>
                </c:pt>
                <c:pt idx="253">
                  <c:v>262513</c:v>
                </c:pt>
                <c:pt idx="254">
                  <c:v>262708</c:v>
                </c:pt>
                <c:pt idx="255">
                  <c:v>262743</c:v>
                </c:pt>
                <c:pt idx="256">
                  <c:v>262776</c:v>
                </c:pt>
                <c:pt idx="257">
                  <c:v>262912</c:v>
                </c:pt>
                <c:pt idx="258">
                  <c:v>263002</c:v>
                </c:pt>
                <c:pt idx="259">
                  <c:v>263125</c:v>
                </c:pt>
                <c:pt idx="260">
                  <c:v>263268</c:v>
                </c:pt>
                <c:pt idx="261">
                  <c:v>263414</c:v>
                </c:pt>
                <c:pt idx="262">
                  <c:v>263449</c:v>
                </c:pt>
                <c:pt idx="263">
                  <c:v>263472</c:v>
                </c:pt>
                <c:pt idx="264">
                  <c:v>263583</c:v>
                </c:pt>
                <c:pt idx="265">
                  <c:v>263715</c:v>
                </c:pt>
                <c:pt idx="266">
                  <c:v>263822</c:v>
                </c:pt>
                <c:pt idx="267">
                  <c:v>263943</c:v>
                </c:pt>
                <c:pt idx="268">
                  <c:v>264107</c:v>
                </c:pt>
                <c:pt idx="269">
                  <c:v>264148</c:v>
                </c:pt>
                <c:pt idx="270">
                  <c:v>264161</c:v>
                </c:pt>
                <c:pt idx="271">
                  <c:v>264263</c:v>
                </c:pt>
                <c:pt idx="272">
                  <c:v>264367</c:v>
                </c:pt>
                <c:pt idx="273">
                  <c:v>264464</c:v>
                </c:pt>
                <c:pt idx="274">
                  <c:v>264598</c:v>
                </c:pt>
                <c:pt idx="275">
                  <c:v>264764</c:v>
                </c:pt>
                <c:pt idx="276">
                  <c:v>264796</c:v>
                </c:pt>
                <c:pt idx="277">
                  <c:v>264806</c:v>
                </c:pt>
                <c:pt idx="278">
                  <c:v>264903</c:v>
                </c:pt>
                <c:pt idx="279">
                  <c:v>264911</c:v>
                </c:pt>
                <c:pt idx="280">
                  <c:v>264996</c:v>
                </c:pt>
                <c:pt idx="281">
                  <c:v>265096</c:v>
                </c:pt>
                <c:pt idx="282">
                  <c:v>265188</c:v>
                </c:pt>
                <c:pt idx="283">
                  <c:v>265209</c:v>
                </c:pt>
                <c:pt idx="284">
                  <c:v>265223</c:v>
                </c:pt>
                <c:pt idx="285">
                  <c:v>265290</c:v>
                </c:pt>
                <c:pt idx="286">
                  <c:v>265373</c:v>
                </c:pt>
                <c:pt idx="287">
                  <c:v>265472</c:v>
                </c:pt>
                <c:pt idx="288">
                  <c:v>265542</c:v>
                </c:pt>
                <c:pt idx="289">
                  <c:v>265654</c:v>
                </c:pt>
                <c:pt idx="290">
                  <c:v>265679</c:v>
                </c:pt>
                <c:pt idx="291">
                  <c:v>265691</c:v>
                </c:pt>
                <c:pt idx="292">
                  <c:v>265767</c:v>
                </c:pt>
                <c:pt idx="293">
                  <c:v>265852</c:v>
                </c:pt>
                <c:pt idx="294">
                  <c:v>265933</c:v>
                </c:pt>
                <c:pt idx="295">
                  <c:v>266002</c:v>
                </c:pt>
                <c:pt idx="296">
                  <c:v>266123</c:v>
                </c:pt>
                <c:pt idx="297">
                  <c:v>266154</c:v>
                </c:pt>
                <c:pt idx="298">
                  <c:v>266184</c:v>
                </c:pt>
                <c:pt idx="299">
                  <c:v>266315</c:v>
                </c:pt>
                <c:pt idx="300">
                  <c:v>266410</c:v>
                </c:pt>
                <c:pt idx="301">
                  <c:v>266541</c:v>
                </c:pt>
                <c:pt idx="302">
                  <c:v>266780</c:v>
                </c:pt>
                <c:pt idx="303">
                  <c:v>267087</c:v>
                </c:pt>
                <c:pt idx="304">
                  <c:v>267170</c:v>
                </c:pt>
                <c:pt idx="305">
                  <c:v>267234</c:v>
                </c:pt>
                <c:pt idx="306">
                  <c:v>267496</c:v>
                </c:pt>
                <c:pt idx="307">
                  <c:v>267858</c:v>
                </c:pt>
                <c:pt idx="308">
                  <c:v>268277</c:v>
                </c:pt>
                <c:pt idx="309">
                  <c:v>268361</c:v>
                </c:pt>
                <c:pt idx="310">
                  <c:v>268740</c:v>
                </c:pt>
                <c:pt idx="311">
                  <c:v>268848</c:v>
                </c:pt>
                <c:pt idx="312">
                  <c:v>268918</c:v>
                </c:pt>
                <c:pt idx="313">
                  <c:v>269334</c:v>
                </c:pt>
                <c:pt idx="314">
                  <c:v>269752</c:v>
                </c:pt>
                <c:pt idx="315">
                  <c:v>270169</c:v>
                </c:pt>
                <c:pt idx="316">
                  <c:v>270668</c:v>
                </c:pt>
                <c:pt idx="317">
                  <c:v>271231</c:v>
                </c:pt>
                <c:pt idx="318">
                  <c:v>271386</c:v>
                </c:pt>
                <c:pt idx="319">
                  <c:v>271480</c:v>
                </c:pt>
                <c:pt idx="320">
                  <c:v>271879</c:v>
                </c:pt>
                <c:pt idx="321">
                  <c:v>272219</c:v>
                </c:pt>
                <c:pt idx="322">
                  <c:v>272604</c:v>
                </c:pt>
                <c:pt idx="323">
                  <c:v>273003</c:v>
                </c:pt>
                <c:pt idx="324">
                  <c:v>273538</c:v>
                </c:pt>
                <c:pt idx="325">
                  <c:v>273662</c:v>
                </c:pt>
                <c:pt idx="326">
                  <c:v>273748</c:v>
                </c:pt>
                <c:pt idx="327">
                  <c:v>274168</c:v>
                </c:pt>
                <c:pt idx="328">
                  <c:v>274637</c:v>
                </c:pt>
                <c:pt idx="329">
                  <c:v>274741</c:v>
                </c:pt>
                <c:pt idx="330">
                  <c:v>275250</c:v>
                </c:pt>
                <c:pt idx="331">
                  <c:v>275873</c:v>
                </c:pt>
                <c:pt idx="332">
                  <c:v>276069</c:v>
                </c:pt>
                <c:pt idx="333">
                  <c:v>276211</c:v>
                </c:pt>
                <c:pt idx="334">
                  <c:v>276632</c:v>
                </c:pt>
                <c:pt idx="335">
                  <c:v>277053</c:v>
                </c:pt>
                <c:pt idx="336">
                  <c:v>277514</c:v>
                </c:pt>
                <c:pt idx="337">
                  <c:v>277991</c:v>
                </c:pt>
                <c:pt idx="338">
                  <c:v>278508</c:v>
                </c:pt>
                <c:pt idx="339">
                  <c:v>278658</c:v>
                </c:pt>
                <c:pt idx="340">
                  <c:v>278709</c:v>
                </c:pt>
                <c:pt idx="341">
                  <c:v>279059</c:v>
                </c:pt>
                <c:pt idx="342">
                  <c:v>279393</c:v>
                </c:pt>
                <c:pt idx="343">
                  <c:v>279742</c:v>
                </c:pt>
                <c:pt idx="344">
                  <c:v>279996</c:v>
                </c:pt>
                <c:pt idx="345">
                  <c:v>280260</c:v>
                </c:pt>
                <c:pt idx="346">
                  <c:v>280313</c:v>
                </c:pt>
                <c:pt idx="347">
                  <c:v>280333</c:v>
                </c:pt>
                <c:pt idx="348">
                  <c:v>280523</c:v>
                </c:pt>
                <c:pt idx="349">
                  <c:v>280703</c:v>
                </c:pt>
                <c:pt idx="350">
                  <c:v>280912</c:v>
                </c:pt>
                <c:pt idx="351">
                  <c:v>281080</c:v>
                </c:pt>
                <c:pt idx="352">
                  <c:v>281268</c:v>
                </c:pt>
                <c:pt idx="353">
                  <c:v>281304</c:v>
                </c:pt>
                <c:pt idx="354">
                  <c:v>281330</c:v>
                </c:pt>
                <c:pt idx="355">
                  <c:v>281505</c:v>
                </c:pt>
                <c:pt idx="356">
                  <c:v>281651</c:v>
                </c:pt>
                <c:pt idx="357">
                  <c:v>281789</c:v>
                </c:pt>
                <c:pt idx="358">
                  <c:v>281961</c:v>
                </c:pt>
                <c:pt idx="359">
                  <c:v>282152</c:v>
                </c:pt>
                <c:pt idx="360">
                  <c:v>282207</c:v>
                </c:pt>
                <c:pt idx="361">
                  <c:v>282222</c:v>
                </c:pt>
                <c:pt idx="362">
                  <c:v>282345</c:v>
                </c:pt>
                <c:pt idx="363">
                  <c:v>282450</c:v>
                </c:pt>
                <c:pt idx="364">
                  <c:v>282541</c:v>
                </c:pt>
                <c:pt idx="365">
                  <c:v>282573</c:v>
                </c:pt>
                <c:pt idx="366">
                  <c:v>282574</c:v>
                </c:pt>
                <c:pt idx="367">
                  <c:v>282636</c:v>
                </c:pt>
                <c:pt idx="368">
                  <c:v>282706</c:v>
                </c:pt>
                <c:pt idx="369">
                  <c:v>282774</c:v>
                </c:pt>
                <c:pt idx="370">
                  <c:v>282847</c:v>
                </c:pt>
                <c:pt idx="371">
                  <c:v>282855</c:v>
                </c:pt>
                <c:pt idx="372">
                  <c:v>282862</c:v>
                </c:pt>
                <c:pt idx="373">
                  <c:v>282944</c:v>
                </c:pt>
                <c:pt idx="374">
                  <c:v>283023</c:v>
                </c:pt>
                <c:pt idx="375">
                  <c:v>283126</c:v>
                </c:pt>
                <c:pt idx="376">
                  <c:v>283241</c:v>
                </c:pt>
                <c:pt idx="377">
                  <c:v>283418</c:v>
                </c:pt>
                <c:pt idx="378">
                  <c:v>283440</c:v>
                </c:pt>
                <c:pt idx="379">
                  <c:v>283458</c:v>
                </c:pt>
                <c:pt idx="380">
                  <c:v>283544</c:v>
                </c:pt>
                <c:pt idx="381">
                  <c:v>283639</c:v>
                </c:pt>
                <c:pt idx="382">
                  <c:v>283746</c:v>
                </c:pt>
                <c:pt idx="383">
                  <c:v>283865</c:v>
                </c:pt>
                <c:pt idx="384">
                  <c:v>284021</c:v>
                </c:pt>
                <c:pt idx="385">
                  <c:v>284058</c:v>
                </c:pt>
                <c:pt idx="386">
                  <c:v>284074</c:v>
                </c:pt>
                <c:pt idx="387">
                  <c:v>284167</c:v>
                </c:pt>
                <c:pt idx="388">
                  <c:v>284272</c:v>
                </c:pt>
                <c:pt idx="389">
                  <c:v>284341</c:v>
                </c:pt>
                <c:pt idx="390">
                  <c:v>284403</c:v>
                </c:pt>
                <c:pt idx="391">
                  <c:v>284499</c:v>
                </c:pt>
                <c:pt idx="392">
                  <c:v>284507</c:v>
                </c:pt>
                <c:pt idx="393">
                  <c:v>284515</c:v>
                </c:pt>
                <c:pt idx="394">
                  <c:v>284555</c:v>
                </c:pt>
                <c:pt idx="395">
                  <c:v>284596</c:v>
                </c:pt>
                <c:pt idx="396">
                  <c:v>284640</c:v>
                </c:pt>
                <c:pt idx="397">
                  <c:v>284677</c:v>
                </c:pt>
                <c:pt idx="398">
                  <c:v>284740</c:v>
                </c:pt>
                <c:pt idx="399">
                  <c:v>284754</c:v>
                </c:pt>
                <c:pt idx="400">
                  <c:v>284757</c:v>
                </c:pt>
                <c:pt idx="401">
                  <c:v>284782</c:v>
                </c:pt>
                <c:pt idx="402">
                  <c:v>284802</c:v>
                </c:pt>
                <c:pt idx="403">
                  <c:v>284826</c:v>
                </c:pt>
                <c:pt idx="404">
                  <c:v>284847</c:v>
                </c:pt>
                <c:pt idx="405">
                  <c:v>284879</c:v>
                </c:pt>
                <c:pt idx="406">
                  <c:v>284881</c:v>
                </c:pt>
                <c:pt idx="407">
                  <c:v>284882</c:v>
                </c:pt>
                <c:pt idx="408">
                  <c:v>284896</c:v>
                </c:pt>
                <c:pt idx="409">
                  <c:v>284908</c:v>
                </c:pt>
                <c:pt idx="410">
                  <c:v>284918</c:v>
                </c:pt>
                <c:pt idx="411">
                  <c:v>284932</c:v>
                </c:pt>
                <c:pt idx="412">
                  <c:v>284956</c:v>
                </c:pt>
                <c:pt idx="413">
                  <c:v>284957</c:v>
                </c:pt>
                <c:pt idx="414">
                  <c:v>284963</c:v>
                </c:pt>
                <c:pt idx="415">
                  <c:v>284973</c:v>
                </c:pt>
                <c:pt idx="416">
                  <c:v>284980</c:v>
                </c:pt>
                <c:pt idx="417">
                  <c:v>284985</c:v>
                </c:pt>
                <c:pt idx="418">
                  <c:v>284989</c:v>
                </c:pt>
                <c:pt idx="419">
                  <c:v>284991</c:v>
                </c:pt>
                <c:pt idx="420">
                  <c:v>284998</c:v>
                </c:pt>
                <c:pt idx="421">
                  <c:v>285000</c:v>
                </c:pt>
                <c:pt idx="422">
                  <c:v>285003</c:v>
                </c:pt>
                <c:pt idx="423">
                  <c:v>285007</c:v>
                </c:pt>
                <c:pt idx="424">
                  <c:v>285015</c:v>
                </c:pt>
                <c:pt idx="425">
                  <c:v>285017</c:v>
                </c:pt>
                <c:pt idx="426">
                  <c:v>285024</c:v>
                </c:pt>
                <c:pt idx="427">
                  <c:v>285027</c:v>
                </c:pt>
                <c:pt idx="428">
                  <c:v>285030</c:v>
                </c:pt>
                <c:pt idx="429">
                  <c:v>285055</c:v>
                </c:pt>
                <c:pt idx="430">
                  <c:v>285058</c:v>
                </c:pt>
                <c:pt idx="431">
                  <c:v>285061</c:v>
                </c:pt>
                <c:pt idx="432">
                  <c:v>285067</c:v>
                </c:pt>
                <c:pt idx="433">
                  <c:v>285081</c:v>
                </c:pt>
                <c:pt idx="434">
                  <c:v>285092</c:v>
                </c:pt>
                <c:pt idx="435">
                  <c:v>285120</c:v>
                </c:pt>
                <c:pt idx="436">
                  <c:v>285122</c:v>
                </c:pt>
                <c:pt idx="437">
                  <c:v>285132</c:v>
                </c:pt>
                <c:pt idx="438">
                  <c:v>285136</c:v>
                </c:pt>
                <c:pt idx="439">
                  <c:v>285142</c:v>
                </c:pt>
                <c:pt idx="440">
                  <c:v>285152</c:v>
                </c:pt>
                <c:pt idx="441">
                  <c:v>2851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E$1:$QD$1</c:f>
              <c:strCache>
                <c:ptCount val="442"/>
                <c:pt idx="0">
                  <c:v>23-XII.20</c:v>
                </c:pt>
                <c:pt idx="1">
                  <c:v>24-XII.20</c:v>
                </c:pt>
                <c:pt idx="2">
                  <c:v>25-XII.20</c:v>
                </c:pt>
                <c:pt idx="3">
                  <c:v>26-XII.20</c:v>
                </c:pt>
                <c:pt idx="4">
                  <c:v>27.XII.20</c:v>
                </c:pt>
                <c:pt idx="5">
                  <c:v>28.XII.20</c:v>
                </c:pt>
                <c:pt idx="6">
                  <c:v>29.XII.20</c:v>
                </c:pt>
                <c:pt idx="7">
                  <c:v>30.XII.20</c:v>
                </c:pt>
                <c:pt idx="8">
                  <c:v>31.XII.20</c:v>
                </c:pt>
                <c:pt idx="9">
                  <c:v>1.I.21</c:v>
                </c:pt>
                <c:pt idx="10">
                  <c:v>2.I.21</c:v>
                </c:pt>
                <c:pt idx="11">
                  <c:v>3.I.21</c:v>
                </c:pt>
                <c:pt idx="12">
                  <c:v>4.I.21</c:v>
                </c:pt>
                <c:pt idx="13">
                  <c:v>5.I.21</c:v>
                </c:pt>
                <c:pt idx="14">
                  <c:v>6.I.21</c:v>
                </c:pt>
                <c:pt idx="15">
                  <c:v>7.I.21</c:v>
                </c:pt>
                <c:pt idx="16">
                  <c:v>8.I.21</c:v>
                </c:pt>
                <c:pt idx="17">
                  <c:v>9.I.21</c:v>
                </c:pt>
                <c:pt idx="18">
                  <c:v>10.I.21</c:v>
                </c:pt>
                <c:pt idx="19">
                  <c:v>11.I.21</c:v>
                </c:pt>
                <c:pt idx="20">
                  <c:v>12.I.21</c:v>
                </c:pt>
                <c:pt idx="21">
                  <c:v>13.I.21</c:v>
                </c:pt>
                <c:pt idx="22">
                  <c:v>14.I.21</c:v>
                </c:pt>
                <c:pt idx="23">
                  <c:v>15.I.21</c:v>
                </c:pt>
                <c:pt idx="24">
                  <c:v>16.I.21</c:v>
                </c:pt>
                <c:pt idx="25">
                  <c:v>17.I.21</c:v>
                </c:pt>
                <c:pt idx="26">
                  <c:v>18.I.21</c:v>
                </c:pt>
                <c:pt idx="27">
                  <c:v>19.I.21</c:v>
                </c:pt>
                <c:pt idx="28">
                  <c:v>20.I.21</c:v>
                </c:pt>
                <c:pt idx="29">
                  <c:v>21.I.21</c:v>
                </c:pt>
                <c:pt idx="30">
                  <c:v>22.I.21</c:v>
                </c:pt>
                <c:pt idx="31">
                  <c:v>23.I.21</c:v>
                </c:pt>
                <c:pt idx="32">
                  <c:v>24.I.21</c:v>
                </c:pt>
                <c:pt idx="33">
                  <c:v>25.I.21</c:v>
                </c:pt>
                <c:pt idx="34">
                  <c:v>26.I.21</c:v>
                </c:pt>
                <c:pt idx="35">
                  <c:v>27.I.21</c:v>
                </c:pt>
                <c:pt idx="36">
                  <c:v>28.I.21</c:v>
                </c:pt>
                <c:pt idx="37">
                  <c:v>29.I.21</c:v>
                </c:pt>
                <c:pt idx="38">
                  <c:v>30.I.21</c:v>
                </c:pt>
                <c:pt idx="39">
                  <c:v>31.I.21</c:v>
                </c:pt>
                <c:pt idx="40">
                  <c:v>1.II.21</c:v>
                </c:pt>
                <c:pt idx="41">
                  <c:v>2.II.21</c:v>
                </c:pt>
                <c:pt idx="42">
                  <c:v>3.II.21</c:v>
                </c:pt>
                <c:pt idx="43">
                  <c:v>4.II.21</c:v>
                </c:pt>
                <c:pt idx="44">
                  <c:v>5.II.21</c:v>
                </c:pt>
                <c:pt idx="45">
                  <c:v>6.II.21</c:v>
                </c:pt>
                <c:pt idx="46">
                  <c:v>7.II.21</c:v>
                </c:pt>
                <c:pt idx="47">
                  <c:v>8.II.21</c:v>
                </c:pt>
                <c:pt idx="48">
                  <c:v>9.II.21</c:v>
                </c:pt>
                <c:pt idx="49">
                  <c:v>10.II.21</c:v>
                </c:pt>
                <c:pt idx="50">
                  <c:v>11.II.21</c:v>
                </c:pt>
                <c:pt idx="51">
                  <c:v>12.II.21</c:v>
                </c:pt>
                <c:pt idx="52">
                  <c:v>13.II.21</c:v>
                </c:pt>
                <c:pt idx="53">
                  <c:v>14.II.21</c:v>
                </c:pt>
                <c:pt idx="54">
                  <c:v>15.II.21</c:v>
                </c:pt>
                <c:pt idx="55">
                  <c:v>16.II.21</c:v>
                </c:pt>
                <c:pt idx="56">
                  <c:v>17.II.21</c:v>
                </c:pt>
                <c:pt idx="57">
                  <c:v>18.II.21</c:v>
                </c:pt>
                <c:pt idx="58">
                  <c:v>19.II.21</c:v>
                </c:pt>
                <c:pt idx="59">
                  <c:v>20.II.21</c:v>
                </c:pt>
                <c:pt idx="60">
                  <c:v>21.II.21</c:v>
                </c:pt>
                <c:pt idx="61">
                  <c:v>22.II.21</c:v>
                </c:pt>
                <c:pt idx="62">
                  <c:v>23.II.21</c:v>
                </c:pt>
                <c:pt idx="63">
                  <c:v>24.II.21</c:v>
                </c:pt>
                <c:pt idx="64">
                  <c:v>25.II.21</c:v>
                </c:pt>
                <c:pt idx="65">
                  <c:v>26.II.21</c:v>
                </c:pt>
                <c:pt idx="66">
                  <c:v>27.II.21</c:v>
                </c:pt>
                <c:pt idx="67">
                  <c:v>28.II.21</c:v>
                </c:pt>
                <c:pt idx="68">
                  <c:v>1.III.21</c:v>
                </c:pt>
                <c:pt idx="69">
                  <c:v>2.III.21</c:v>
                </c:pt>
                <c:pt idx="70">
                  <c:v>3.III.21</c:v>
                </c:pt>
                <c:pt idx="71">
                  <c:v>4.III.21</c:v>
                </c:pt>
                <c:pt idx="72">
                  <c:v>5.III.21</c:v>
                </c:pt>
                <c:pt idx="73">
                  <c:v>6.III.21</c:v>
                </c:pt>
                <c:pt idx="74">
                  <c:v>7.III.21</c:v>
                </c:pt>
                <c:pt idx="75">
                  <c:v>8.III.21</c:v>
                </c:pt>
                <c:pt idx="76">
                  <c:v>9.III.21</c:v>
                </c:pt>
                <c:pt idx="77">
                  <c:v>10.III.21</c:v>
                </c:pt>
                <c:pt idx="78">
                  <c:v>11.III.21</c:v>
                </c:pt>
                <c:pt idx="79">
                  <c:v>12.III.21</c:v>
                </c:pt>
                <c:pt idx="80">
                  <c:v>13.III.21</c:v>
                </c:pt>
                <c:pt idx="81">
                  <c:v>14.III.21</c:v>
                </c:pt>
                <c:pt idx="82">
                  <c:v>15.III.21</c:v>
                </c:pt>
                <c:pt idx="83">
                  <c:v>16.III.21</c:v>
                </c:pt>
                <c:pt idx="84">
                  <c:v>17.III.21</c:v>
                </c:pt>
                <c:pt idx="85">
                  <c:v>18.III.21</c:v>
                </c:pt>
                <c:pt idx="86">
                  <c:v>19.III.21</c:v>
                </c:pt>
                <c:pt idx="87">
                  <c:v>20.III.21</c:v>
                </c:pt>
                <c:pt idx="88">
                  <c:v>21.III.21</c:v>
                </c:pt>
                <c:pt idx="89">
                  <c:v>22.III.21</c:v>
                </c:pt>
                <c:pt idx="90">
                  <c:v>23.III.21</c:v>
                </c:pt>
                <c:pt idx="91">
                  <c:v>24.III.21</c:v>
                </c:pt>
                <c:pt idx="92">
                  <c:v>25.III.21</c:v>
                </c:pt>
                <c:pt idx="93">
                  <c:v>26.III.21</c:v>
                </c:pt>
                <c:pt idx="94">
                  <c:v>27.III.21</c:v>
                </c:pt>
                <c:pt idx="95">
                  <c:v>28.III.21</c:v>
                </c:pt>
                <c:pt idx="96">
                  <c:v>29.III.21</c:v>
                </c:pt>
                <c:pt idx="97">
                  <c:v>30.III.21</c:v>
                </c:pt>
                <c:pt idx="98">
                  <c:v>31.III.21</c:v>
                </c:pt>
                <c:pt idx="99">
                  <c:v>1.IV.21</c:v>
                </c:pt>
                <c:pt idx="100">
                  <c:v>2.IV.21</c:v>
                </c:pt>
                <c:pt idx="101">
                  <c:v>3.IV.21</c:v>
                </c:pt>
                <c:pt idx="102">
                  <c:v>4.IV.21</c:v>
                </c:pt>
                <c:pt idx="103">
                  <c:v>5.IV.21</c:v>
                </c:pt>
                <c:pt idx="104">
                  <c:v>6.IV.21</c:v>
                </c:pt>
                <c:pt idx="105">
                  <c:v>7.IV.21</c:v>
                </c:pt>
                <c:pt idx="106">
                  <c:v>8.IV.21</c:v>
                </c:pt>
                <c:pt idx="107">
                  <c:v>9.IV.21</c:v>
                </c:pt>
                <c:pt idx="108">
                  <c:v>10.IV.21</c:v>
                </c:pt>
                <c:pt idx="109">
                  <c:v>11.IV.21</c:v>
                </c:pt>
                <c:pt idx="110">
                  <c:v>12.IV.21</c:v>
                </c:pt>
                <c:pt idx="111">
                  <c:v>13.IV.21</c:v>
                </c:pt>
                <c:pt idx="112">
                  <c:v>14.IV.21</c:v>
                </c:pt>
                <c:pt idx="113">
                  <c:v>15.IV.21</c:v>
                </c:pt>
                <c:pt idx="114">
                  <c:v>16.IV.21</c:v>
                </c:pt>
                <c:pt idx="115">
                  <c:v>17.IV.21</c:v>
                </c:pt>
                <c:pt idx="116">
                  <c:v>18.IV.21</c:v>
                </c:pt>
                <c:pt idx="117">
                  <c:v>19.IV.21</c:v>
                </c:pt>
                <c:pt idx="118">
                  <c:v>20.IV.21</c:v>
                </c:pt>
                <c:pt idx="119">
                  <c:v>21.IV.21</c:v>
                </c:pt>
                <c:pt idx="120">
                  <c:v>22.IV.21</c:v>
                </c:pt>
                <c:pt idx="121">
                  <c:v>23.IV.21</c:v>
                </c:pt>
                <c:pt idx="122">
                  <c:v>24.IV.21</c:v>
                </c:pt>
                <c:pt idx="123">
                  <c:v>25.IV.21</c:v>
                </c:pt>
                <c:pt idx="124">
                  <c:v>26.IV.21</c:v>
                </c:pt>
                <c:pt idx="125">
                  <c:v>27.IV.21</c:v>
                </c:pt>
                <c:pt idx="126">
                  <c:v>28.IV.21</c:v>
                </c:pt>
                <c:pt idx="127">
                  <c:v>29.IV.21</c:v>
                </c:pt>
                <c:pt idx="128">
                  <c:v>30.IV.21</c:v>
                </c:pt>
                <c:pt idx="129">
                  <c:v>1.V.21</c:v>
                </c:pt>
                <c:pt idx="130">
                  <c:v>2.V.21</c:v>
                </c:pt>
                <c:pt idx="131">
                  <c:v>3.V.21</c:v>
                </c:pt>
                <c:pt idx="132">
                  <c:v>4.V.21</c:v>
                </c:pt>
                <c:pt idx="133">
                  <c:v>5.V.21</c:v>
                </c:pt>
                <c:pt idx="134">
                  <c:v>6.V.21</c:v>
                </c:pt>
                <c:pt idx="135">
                  <c:v>7.V.21</c:v>
                </c:pt>
                <c:pt idx="136">
                  <c:v>8.V.21</c:v>
                </c:pt>
                <c:pt idx="137">
                  <c:v>9.V.21</c:v>
                </c:pt>
                <c:pt idx="138">
                  <c:v>10.V.21</c:v>
                </c:pt>
                <c:pt idx="139">
                  <c:v>11.V.21</c:v>
                </c:pt>
                <c:pt idx="140">
                  <c:v>12.V.21</c:v>
                </c:pt>
                <c:pt idx="141">
                  <c:v>13.V.21</c:v>
                </c:pt>
                <c:pt idx="142">
                  <c:v>14.V.21</c:v>
                </c:pt>
                <c:pt idx="143">
                  <c:v>15.V.21</c:v>
                </c:pt>
                <c:pt idx="144">
                  <c:v>16.V.21</c:v>
                </c:pt>
                <c:pt idx="145">
                  <c:v>17.V.21</c:v>
                </c:pt>
                <c:pt idx="146">
                  <c:v>18.V.21</c:v>
                </c:pt>
                <c:pt idx="147">
                  <c:v>19.V.21</c:v>
                </c:pt>
                <c:pt idx="148">
                  <c:v>20.V.21</c:v>
                </c:pt>
                <c:pt idx="149">
                  <c:v>21.V.21</c:v>
                </c:pt>
                <c:pt idx="150">
                  <c:v>22.V.21</c:v>
                </c:pt>
                <c:pt idx="151">
                  <c:v>23.V.21</c:v>
                </c:pt>
                <c:pt idx="152">
                  <c:v>24.V.21</c:v>
                </c:pt>
                <c:pt idx="153">
                  <c:v>25.V.21</c:v>
                </c:pt>
                <c:pt idx="154">
                  <c:v>26.V.21</c:v>
                </c:pt>
                <c:pt idx="155">
                  <c:v>27.V.21</c:v>
                </c:pt>
                <c:pt idx="156">
                  <c:v>28.V.21</c:v>
                </c:pt>
                <c:pt idx="157">
                  <c:v>29.V.21</c:v>
                </c:pt>
                <c:pt idx="158">
                  <c:v>30.V.21</c:v>
                </c:pt>
                <c:pt idx="159">
                  <c:v>31.V.21</c:v>
                </c:pt>
                <c:pt idx="160">
                  <c:v>1.VI.21</c:v>
                </c:pt>
                <c:pt idx="161">
                  <c:v>2.VI.21</c:v>
                </c:pt>
                <c:pt idx="162">
                  <c:v>3.VI.21</c:v>
                </c:pt>
                <c:pt idx="163">
                  <c:v>4.VI.21</c:v>
                </c:pt>
                <c:pt idx="164">
                  <c:v>5.VI.21</c:v>
                </c:pt>
                <c:pt idx="165">
                  <c:v>6.VI.21</c:v>
                </c:pt>
                <c:pt idx="166">
                  <c:v>7.VI.21</c:v>
                </c:pt>
                <c:pt idx="167">
                  <c:v>8.VI.21</c:v>
                </c:pt>
                <c:pt idx="168">
                  <c:v>9.VI.21</c:v>
                </c:pt>
                <c:pt idx="169">
                  <c:v>10.VI.21</c:v>
                </c:pt>
                <c:pt idx="170">
                  <c:v>11.VI.21</c:v>
                </c:pt>
                <c:pt idx="171">
                  <c:v>12.VI.21</c:v>
                </c:pt>
                <c:pt idx="172">
                  <c:v>13.VI.21</c:v>
                </c:pt>
                <c:pt idx="173">
                  <c:v>14.VI.21</c:v>
                </c:pt>
                <c:pt idx="174">
                  <c:v>15.VI.21</c:v>
                </c:pt>
                <c:pt idx="175">
                  <c:v>16.VI.21</c:v>
                </c:pt>
                <c:pt idx="176">
                  <c:v>17.VI.21</c:v>
                </c:pt>
                <c:pt idx="177">
                  <c:v>18.VI.21</c:v>
                </c:pt>
                <c:pt idx="178">
                  <c:v>19.VI.21</c:v>
                </c:pt>
                <c:pt idx="179">
                  <c:v>20.VI.21</c:v>
                </c:pt>
                <c:pt idx="180">
                  <c:v>21.VI.21</c:v>
                </c:pt>
                <c:pt idx="181">
                  <c:v>22.VI.21</c:v>
                </c:pt>
                <c:pt idx="182">
                  <c:v>23.VI.21</c:v>
                </c:pt>
                <c:pt idx="183">
                  <c:v>24.VI.21</c:v>
                </c:pt>
                <c:pt idx="184">
                  <c:v>25.VI.21</c:v>
                </c:pt>
                <c:pt idx="185">
                  <c:v>26.VI.21</c:v>
                </c:pt>
                <c:pt idx="186">
                  <c:v>27.VI.21</c:v>
                </c:pt>
                <c:pt idx="187">
                  <c:v>28.VI.21</c:v>
                </c:pt>
                <c:pt idx="188">
                  <c:v>29.VI.21</c:v>
                </c:pt>
                <c:pt idx="189">
                  <c:v>30.VI.21</c:v>
                </c:pt>
                <c:pt idx="190">
                  <c:v>1.VII.21</c:v>
                </c:pt>
                <c:pt idx="191">
                  <c:v>2.VII.21</c:v>
                </c:pt>
                <c:pt idx="192">
                  <c:v>3.VII.21</c:v>
                </c:pt>
                <c:pt idx="193">
                  <c:v>4.VII.21</c:v>
                </c:pt>
                <c:pt idx="194">
                  <c:v>5.VII.21</c:v>
                </c:pt>
                <c:pt idx="195">
                  <c:v>6.VII.21</c:v>
                </c:pt>
                <c:pt idx="196">
                  <c:v>7.VII.21</c:v>
                </c:pt>
                <c:pt idx="197">
                  <c:v>8.VII.21</c:v>
                </c:pt>
                <c:pt idx="198">
                  <c:v>9.VII.21</c:v>
                </c:pt>
                <c:pt idx="199">
                  <c:v>10.VII.21</c:v>
                </c:pt>
                <c:pt idx="200">
                  <c:v>11.VII.21</c:v>
                </c:pt>
                <c:pt idx="201">
                  <c:v>12.VII.21</c:v>
                </c:pt>
                <c:pt idx="202">
                  <c:v>13.VII.21</c:v>
                </c:pt>
                <c:pt idx="203">
                  <c:v>14.VII.21</c:v>
                </c:pt>
                <c:pt idx="204">
                  <c:v>15.VII.21</c:v>
                </c:pt>
                <c:pt idx="205">
                  <c:v>16.VII.21</c:v>
                </c:pt>
                <c:pt idx="206">
                  <c:v>17.VII.21</c:v>
                </c:pt>
                <c:pt idx="207">
                  <c:v>18.VII.21</c:v>
                </c:pt>
                <c:pt idx="208">
                  <c:v>19.VII.21</c:v>
                </c:pt>
                <c:pt idx="209">
                  <c:v>20.VII.21</c:v>
                </c:pt>
                <c:pt idx="210">
                  <c:v>21.VII.21</c:v>
                </c:pt>
                <c:pt idx="211">
                  <c:v>22.VII.21</c:v>
                </c:pt>
                <c:pt idx="212">
                  <c:v>23.VII.21</c:v>
                </c:pt>
                <c:pt idx="213">
                  <c:v>24.VII.21</c:v>
                </c:pt>
                <c:pt idx="214">
                  <c:v>25.VII.21</c:v>
                </c:pt>
                <c:pt idx="215">
                  <c:v>26.VII.21</c:v>
                </c:pt>
                <c:pt idx="216">
                  <c:v>27.VII.21</c:v>
                </c:pt>
                <c:pt idx="217">
                  <c:v>28.VII.21</c:v>
                </c:pt>
                <c:pt idx="218">
                  <c:v>29.VII.21</c:v>
                </c:pt>
                <c:pt idx="219">
                  <c:v>30.VII.21</c:v>
                </c:pt>
                <c:pt idx="220">
                  <c:v>31.VII.21</c:v>
                </c:pt>
                <c:pt idx="221">
                  <c:v>1.VIII.21</c:v>
                </c:pt>
                <c:pt idx="222">
                  <c:v>2.VIII.21</c:v>
                </c:pt>
                <c:pt idx="223">
                  <c:v>3.VIII.21</c:v>
                </c:pt>
                <c:pt idx="224">
                  <c:v>4.VIII.21</c:v>
                </c:pt>
                <c:pt idx="225">
                  <c:v>5.VIII.21</c:v>
                </c:pt>
                <c:pt idx="226">
                  <c:v>6.VIII.21</c:v>
                </c:pt>
                <c:pt idx="227">
                  <c:v>7.VIII.21</c:v>
                </c:pt>
                <c:pt idx="228">
                  <c:v>8.VIII.21</c:v>
                </c:pt>
                <c:pt idx="229">
                  <c:v>9.VIII.21</c:v>
                </c:pt>
                <c:pt idx="230">
                  <c:v>10.VIII.21</c:v>
                </c:pt>
                <c:pt idx="231">
                  <c:v>11.VIII.21</c:v>
                </c:pt>
                <c:pt idx="232">
                  <c:v>12.VIII.21</c:v>
                </c:pt>
                <c:pt idx="233">
                  <c:v>13.VIII.21</c:v>
                </c:pt>
                <c:pt idx="234">
                  <c:v>14.VIII.21</c:v>
                </c:pt>
                <c:pt idx="235">
                  <c:v>15.VIII.21</c:v>
                </c:pt>
                <c:pt idx="236">
                  <c:v>16.VIII.21</c:v>
                </c:pt>
                <c:pt idx="237">
                  <c:v>17.VIII.21</c:v>
                </c:pt>
                <c:pt idx="238">
                  <c:v>18.VIII.21</c:v>
                </c:pt>
                <c:pt idx="239">
                  <c:v>19.VIII.21</c:v>
                </c:pt>
                <c:pt idx="240">
                  <c:v>20.VIII.21</c:v>
                </c:pt>
                <c:pt idx="241">
                  <c:v>21.VIII.21</c:v>
                </c:pt>
                <c:pt idx="242">
                  <c:v>22.VIII.21</c:v>
                </c:pt>
                <c:pt idx="243">
                  <c:v>23.VIII.21</c:v>
                </c:pt>
                <c:pt idx="244">
                  <c:v>24.VIII.21</c:v>
                </c:pt>
                <c:pt idx="245">
                  <c:v>25.VIII.21</c:v>
                </c:pt>
                <c:pt idx="246">
                  <c:v>26.VIII.21</c:v>
                </c:pt>
                <c:pt idx="247">
                  <c:v>27.VIII.21</c:v>
                </c:pt>
                <c:pt idx="248">
                  <c:v>28.VIII.21</c:v>
                </c:pt>
                <c:pt idx="249">
                  <c:v>29.VIII.21</c:v>
                </c:pt>
                <c:pt idx="250">
                  <c:v>30.VIII.21</c:v>
                </c:pt>
                <c:pt idx="251">
                  <c:v>31.VIII.21</c:v>
                </c:pt>
                <c:pt idx="252">
                  <c:v>1.IX.21</c:v>
                </c:pt>
                <c:pt idx="253">
                  <c:v>2.IX.21</c:v>
                </c:pt>
                <c:pt idx="254">
                  <c:v>3.IX.21</c:v>
                </c:pt>
                <c:pt idx="255">
                  <c:v>4.IX.21</c:v>
                </c:pt>
                <c:pt idx="256">
                  <c:v>5.IX.21</c:v>
                </c:pt>
                <c:pt idx="257">
                  <c:v>6.IX.21</c:v>
                </c:pt>
                <c:pt idx="258">
                  <c:v>7.IX.21</c:v>
                </c:pt>
                <c:pt idx="259">
                  <c:v>8.IX.21</c:v>
                </c:pt>
                <c:pt idx="260">
                  <c:v>9.IX.21</c:v>
                </c:pt>
                <c:pt idx="261">
                  <c:v>10.IX.21</c:v>
                </c:pt>
                <c:pt idx="262">
                  <c:v>11.IX.21</c:v>
                </c:pt>
                <c:pt idx="263">
                  <c:v>12.IX.21</c:v>
                </c:pt>
                <c:pt idx="264">
                  <c:v>13.IX.21</c:v>
                </c:pt>
                <c:pt idx="265">
                  <c:v>14.IX.21</c:v>
                </c:pt>
                <c:pt idx="266">
                  <c:v>15.IX.21</c:v>
                </c:pt>
                <c:pt idx="267">
                  <c:v>16.IX.21</c:v>
                </c:pt>
                <c:pt idx="268">
                  <c:v>17.IX.21</c:v>
                </c:pt>
                <c:pt idx="269">
                  <c:v>18.IX.21</c:v>
                </c:pt>
                <c:pt idx="270">
                  <c:v>19.IX.21</c:v>
                </c:pt>
                <c:pt idx="271">
                  <c:v>20.IX.21</c:v>
                </c:pt>
                <c:pt idx="272">
                  <c:v>21.IX.21</c:v>
                </c:pt>
                <c:pt idx="273">
                  <c:v>22.IX.21</c:v>
                </c:pt>
                <c:pt idx="274">
                  <c:v>23.IX.21</c:v>
                </c:pt>
                <c:pt idx="275">
                  <c:v>24.IX.21</c:v>
                </c:pt>
                <c:pt idx="276">
                  <c:v>25.IX.21</c:v>
                </c:pt>
                <c:pt idx="277">
                  <c:v>26.IX.21</c:v>
                </c:pt>
                <c:pt idx="278">
                  <c:v>27.IX.21</c:v>
                </c:pt>
                <c:pt idx="279">
                  <c:v>28.IX.21</c:v>
                </c:pt>
                <c:pt idx="280">
                  <c:v>29.IX.21</c:v>
                </c:pt>
                <c:pt idx="281">
                  <c:v>30.IX.21</c:v>
                </c:pt>
                <c:pt idx="282">
                  <c:v>1.X.21</c:v>
                </c:pt>
                <c:pt idx="283">
                  <c:v>2.X.21</c:v>
                </c:pt>
                <c:pt idx="284">
                  <c:v>3.X.21</c:v>
                </c:pt>
                <c:pt idx="285">
                  <c:v>4.X.21</c:v>
                </c:pt>
                <c:pt idx="286">
                  <c:v>5.X.21</c:v>
                </c:pt>
                <c:pt idx="287">
                  <c:v>6.X.21</c:v>
                </c:pt>
                <c:pt idx="288">
                  <c:v>7.X.21</c:v>
                </c:pt>
                <c:pt idx="289">
                  <c:v>8.X.21</c:v>
                </c:pt>
                <c:pt idx="290">
                  <c:v>9.X.21</c:v>
                </c:pt>
                <c:pt idx="291">
                  <c:v>10.X.21</c:v>
                </c:pt>
                <c:pt idx="292">
                  <c:v>11.X.21</c:v>
                </c:pt>
                <c:pt idx="293">
                  <c:v>12.X.21</c:v>
                </c:pt>
                <c:pt idx="294">
                  <c:v>13.X.21</c:v>
                </c:pt>
                <c:pt idx="295">
                  <c:v>14.X.21</c:v>
                </c:pt>
                <c:pt idx="296">
                  <c:v>15.X.21</c:v>
                </c:pt>
                <c:pt idx="297">
                  <c:v>16.X.21</c:v>
                </c:pt>
                <c:pt idx="298">
                  <c:v>17.X.21</c:v>
                </c:pt>
                <c:pt idx="299">
                  <c:v>18.X.21</c:v>
                </c:pt>
                <c:pt idx="300">
                  <c:v>19.X.21</c:v>
                </c:pt>
                <c:pt idx="301">
                  <c:v>20.X.21</c:v>
                </c:pt>
                <c:pt idx="302">
                  <c:v>21.X.21</c:v>
                </c:pt>
                <c:pt idx="303">
                  <c:v>22.X.21</c:v>
                </c:pt>
                <c:pt idx="304">
                  <c:v>23.X.21</c:v>
                </c:pt>
                <c:pt idx="305">
                  <c:v>24.X.21</c:v>
                </c:pt>
                <c:pt idx="306">
                  <c:v>25.X.21</c:v>
                </c:pt>
                <c:pt idx="307">
                  <c:v>26.X.21</c:v>
                </c:pt>
                <c:pt idx="308">
                  <c:v>27.X.21</c:v>
                </c:pt>
                <c:pt idx="309">
                  <c:v>28.X.21</c:v>
                </c:pt>
                <c:pt idx="310">
                  <c:v>29.X.21</c:v>
                </c:pt>
                <c:pt idx="311">
                  <c:v>30.X.21</c:v>
                </c:pt>
                <c:pt idx="312">
                  <c:v>31.X.21</c:v>
                </c:pt>
                <c:pt idx="313">
                  <c:v>1.XI.21</c:v>
                </c:pt>
                <c:pt idx="314">
                  <c:v>2.XI.21</c:v>
                </c:pt>
                <c:pt idx="315">
                  <c:v>3.XI.21</c:v>
                </c:pt>
                <c:pt idx="316">
                  <c:v>4.XI.21</c:v>
                </c:pt>
                <c:pt idx="317">
                  <c:v>5.XI.21</c:v>
                </c:pt>
                <c:pt idx="318">
                  <c:v>6.XI.21</c:v>
                </c:pt>
                <c:pt idx="319">
                  <c:v>7.XI.21</c:v>
                </c:pt>
                <c:pt idx="320">
                  <c:v>8.XI.21</c:v>
                </c:pt>
                <c:pt idx="321">
                  <c:v>9.XI.21</c:v>
                </c:pt>
                <c:pt idx="322">
                  <c:v>10.XI.21</c:v>
                </c:pt>
                <c:pt idx="323">
                  <c:v>11.XI.21</c:v>
                </c:pt>
                <c:pt idx="324">
                  <c:v>12.XI.21</c:v>
                </c:pt>
                <c:pt idx="325">
                  <c:v>13.XI.21</c:v>
                </c:pt>
                <c:pt idx="326">
                  <c:v>14.XI.21</c:v>
                </c:pt>
                <c:pt idx="327">
                  <c:v>15.XI.21</c:v>
                </c:pt>
                <c:pt idx="328">
                  <c:v>16.XI.21</c:v>
                </c:pt>
                <c:pt idx="329">
                  <c:v>17.XI.21</c:v>
                </c:pt>
                <c:pt idx="330">
                  <c:v>18.XI.21</c:v>
                </c:pt>
                <c:pt idx="331">
                  <c:v>19.XI.21</c:v>
                </c:pt>
                <c:pt idx="332">
                  <c:v>20.XI.21</c:v>
                </c:pt>
                <c:pt idx="333">
                  <c:v>21.XI.21</c:v>
                </c:pt>
                <c:pt idx="334">
                  <c:v>22.XI.21</c:v>
                </c:pt>
                <c:pt idx="335">
                  <c:v>23.XI.21</c:v>
                </c:pt>
                <c:pt idx="336">
                  <c:v>24.XI.21</c:v>
                </c:pt>
                <c:pt idx="337">
                  <c:v>25.XI.21</c:v>
                </c:pt>
                <c:pt idx="338">
                  <c:v>26.XI.21</c:v>
                </c:pt>
                <c:pt idx="339">
                  <c:v>27.XI.21</c:v>
                </c:pt>
                <c:pt idx="340">
                  <c:v>28.XI.21</c:v>
                </c:pt>
                <c:pt idx="341">
                  <c:v>29.XI.21</c:v>
                </c:pt>
                <c:pt idx="342">
                  <c:v>30.XI.21</c:v>
                </c:pt>
                <c:pt idx="343">
                  <c:v>1.XII.21</c:v>
                </c:pt>
                <c:pt idx="344">
                  <c:v>2.XII.21</c:v>
                </c:pt>
                <c:pt idx="345">
                  <c:v>3.XII.21</c:v>
                </c:pt>
                <c:pt idx="346">
                  <c:v>4.XII.21</c:v>
                </c:pt>
                <c:pt idx="347">
                  <c:v>5.XII.21</c:v>
                </c:pt>
                <c:pt idx="348">
                  <c:v>6.XII.21</c:v>
                </c:pt>
                <c:pt idx="349">
                  <c:v>7.XII.21</c:v>
                </c:pt>
                <c:pt idx="350">
                  <c:v>8.XII.21</c:v>
                </c:pt>
                <c:pt idx="351">
                  <c:v>9.XII.21</c:v>
                </c:pt>
                <c:pt idx="352">
                  <c:v>10.XII.21</c:v>
                </c:pt>
                <c:pt idx="353">
                  <c:v>11.XII.21</c:v>
                </c:pt>
                <c:pt idx="354">
                  <c:v>12.XII.21</c:v>
                </c:pt>
                <c:pt idx="355">
                  <c:v>13.XII.21</c:v>
                </c:pt>
                <c:pt idx="356">
                  <c:v>14.XII.21</c:v>
                </c:pt>
                <c:pt idx="357">
                  <c:v>15.XII.21</c:v>
                </c:pt>
                <c:pt idx="358">
                  <c:v>16.XII.21</c:v>
                </c:pt>
                <c:pt idx="359">
                  <c:v>17.XII.21</c:v>
                </c:pt>
                <c:pt idx="360">
                  <c:v>18.XII.21</c:v>
                </c:pt>
                <c:pt idx="361">
                  <c:v>19.XII.21</c:v>
                </c:pt>
                <c:pt idx="362">
                  <c:v>20.XII.21</c:v>
                </c:pt>
                <c:pt idx="363">
                  <c:v>21.XII.21</c:v>
                </c:pt>
                <c:pt idx="364">
                  <c:v>22.XII.21</c:v>
                </c:pt>
                <c:pt idx="365">
                  <c:v>23.XII.21</c:v>
                </c:pt>
                <c:pt idx="366">
                  <c:v>24.XII.21</c:v>
                </c:pt>
                <c:pt idx="367">
                  <c:v>27.XII.21</c:v>
                </c:pt>
                <c:pt idx="368">
                  <c:v>28.XII.21</c:v>
                </c:pt>
                <c:pt idx="369">
                  <c:v>29.XII.21</c:v>
                </c:pt>
                <c:pt idx="370">
                  <c:v>30.XII.21</c:v>
                </c:pt>
                <c:pt idx="371">
                  <c:v>31.XII.21</c:v>
                </c:pt>
                <c:pt idx="372">
                  <c:v>2.I.22</c:v>
                </c:pt>
                <c:pt idx="373">
                  <c:v>3.I.22</c:v>
                </c:pt>
                <c:pt idx="374">
                  <c:v>4.I.22</c:v>
                </c:pt>
                <c:pt idx="375">
                  <c:v>5.I.22</c:v>
                </c:pt>
                <c:pt idx="376">
                  <c:v>6.I.22</c:v>
                </c:pt>
                <c:pt idx="377">
                  <c:v>7.I.22</c:v>
                </c:pt>
                <c:pt idx="378">
                  <c:v>8.I.22</c:v>
                </c:pt>
                <c:pt idx="379">
                  <c:v>9.I.22</c:v>
                </c:pt>
                <c:pt idx="380">
                  <c:v>10.I.22</c:v>
                </c:pt>
                <c:pt idx="381">
                  <c:v>11.I.22</c:v>
                </c:pt>
                <c:pt idx="382">
                  <c:v>12.I.22</c:v>
                </c:pt>
                <c:pt idx="383">
                  <c:v>13.I.22</c:v>
                </c:pt>
                <c:pt idx="384">
                  <c:v>14.I.22</c:v>
                </c:pt>
                <c:pt idx="385">
                  <c:v>15.I.22</c:v>
                </c:pt>
                <c:pt idx="386">
                  <c:v>16.I.22</c:v>
                </c:pt>
                <c:pt idx="387">
                  <c:v>17.I.22</c:v>
                </c:pt>
                <c:pt idx="388">
                  <c:v>18.I.22</c:v>
                </c:pt>
                <c:pt idx="389">
                  <c:v>19.I.22</c:v>
                </c:pt>
                <c:pt idx="390">
                  <c:v>20.I.22</c:v>
                </c:pt>
                <c:pt idx="391">
                  <c:v>21.I.22</c:v>
                </c:pt>
                <c:pt idx="392">
                  <c:v>22.I.22</c:v>
                </c:pt>
                <c:pt idx="393">
                  <c:v>23.I.22</c:v>
                </c:pt>
                <c:pt idx="394">
                  <c:v>24.I.22</c:v>
                </c:pt>
                <c:pt idx="395">
                  <c:v>25.I.22</c:v>
                </c:pt>
                <c:pt idx="396">
                  <c:v>26.I.22</c:v>
                </c:pt>
                <c:pt idx="397">
                  <c:v>27.I.22</c:v>
                </c:pt>
                <c:pt idx="398">
                  <c:v>28.I.22</c:v>
                </c:pt>
                <c:pt idx="399">
                  <c:v>29.I.22</c:v>
                </c:pt>
                <c:pt idx="400">
                  <c:v>30.I.22</c:v>
                </c:pt>
                <c:pt idx="401">
                  <c:v>31.I.22</c:v>
                </c:pt>
                <c:pt idx="402">
                  <c:v>1.II.22</c:v>
                </c:pt>
                <c:pt idx="403">
                  <c:v>2.II.22</c:v>
                </c:pt>
                <c:pt idx="404">
                  <c:v>3.II.22</c:v>
                </c:pt>
                <c:pt idx="405">
                  <c:v>4.II.22</c:v>
                </c:pt>
                <c:pt idx="406">
                  <c:v>5.II.22</c:v>
                </c:pt>
                <c:pt idx="407">
                  <c:v>6.II.22</c:v>
                </c:pt>
                <c:pt idx="408">
                  <c:v>7.II.22</c:v>
                </c:pt>
                <c:pt idx="409">
                  <c:v>8.II.22</c:v>
                </c:pt>
                <c:pt idx="410">
                  <c:v>9.II.22</c:v>
                </c:pt>
                <c:pt idx="411">
                  <c:v>10.II.22</c:v>
                </c:pt>
                <c:pt idx="412">
                  <c:v>11.II.22</c:v>
                </c:pt>
                <c:pt idx="413">
                  <c:v>12.II.22</c:v>
                </c:pt>
                <c:pt idx="414">
                  <c:v>14.II.22</c:v>
                </c:pt>
                <c:pt idx="415">
                  <c:v>15.II.22</c:v>
                </c:pt>
                <c:pt idx="416">
                  <c:v>16.II.22</c:v>
                </c:pt>
                <c:pt idx="417">
                  <c:v>17.II.22</c:v>
                </c:pt>
                <c:pt idx="418">
                  <c:v>18.II.22</c:v>
                </c:pt>
                <c:pt idx="419">
                  <c:v>19.II.22</c:v>
                </c:pt>
                <c:pt idx="420">
                  <c:v>21.II.22</c:v>
                </c:pt>
                <c:pt idx="421">
                  <c:v>22.II.22</c:v>
                </c:pt>
                <c:pt idx="422">
                  <c:v>23.II.22</c:v>
                </c:pt>
                <c:pt idx="423">
                  <c:v>24.II.22</c:v>
                </c:pt>
                <c:pt idx="424">
                  <c:v>25.II.22</c:v>
                </c:pt>
                <c:pt idx="425">
                  <c:v>28.II.22</c:v>
                </c:pt>
                <c:pt idx="426">
                  <c:v>1.III.22</c:v>
                </c:pt>
                <c:pt idx="427">
                  <c:v>2.III.22</c:v>
                </c:pt>
                <c:pt idx="428">
                  <c:v>3.III.22</c:v>
                </c:pt>
                <c:pt idx="429">
                  <c:v>4.III.22</c:v>
                </c:pt>
                <c:pt idx="430">
                  <c:v>5.III.22</c:v>
                </c:pt>
                <c:pt idx="431">
                  <c:v>7.III.22</c:v>
                </c:pt>
                <c:pt idx="432">
                  <c:v>8.III.22</c:v>
                </c:pt>
                <c:pt idx="433">
                  <c:v>9.III.22</c:v>
                </c:pt>
                <c:pt idx="434">
                  <c:v>10.III.22</c:v>
                </c:pt>
                <c:pt idx="435">
                  <c:v>11.III.22</c:v>
                </c:pt>
                <c:pt idx="436">
                  <c:v>12.III.22</c:v>
                </c:pt>
                <c:pt idx="437">
                  <c:v>14.III.22</c:v>
                </c:pt>
                <c:pt idx="438">
                  <c:v>15.III.22</c:v>
                </c:pt>
                <c:pt idx="439">
                  <c:v>16.III.22</c:v>
                </c:pt>
                <c:pt idx="440">
                  <c:v>17.III.22</c:v>
                </c:pt>
                <c:pt idx="441">
                  <c:v>18.III.22</c:v>
                </c:pt>
              </c:strCache>
            </c:strRef>
          </c:cat>
          <c:val>
            <c:numRef>
              <c:f>List1!$E$3:$QD$3</c:f>
              <c:numCache>
                <c:formatCode>General</c:formatCode>
                <c:ptCount val="442"/>
                <c:pt idx="4">
                  <c:v>409</c:v>
                </c:pt>
                <c:pt idx="5">
                  <c:v>1122</c:v>
                </c:pt>
                <c:pt idx="6">
                  <c:v>2231</c:v>
                </c:pt>
                <c:pt idx="7">
                  <c:v>3367</c:v>
                </c:pt>
                <c:pt idx="8">
                  <c:v>3747</c:v>
                </c:pt>
                <c:pt idx="9">
                  <c:v>3865</c:v>
                </c:pt>
                <c:pt idx="10">
                  <c:v>4346</c:v>
                </c:pt>
                <c:pt idx="11">
                  <c:v>4664</c:v>
                </c:pt>
                <c:pt idx="12">
                  <c:v>6009</c:v>
                </c:pt>
                <c:pt idx="13">
                  <c:v>7652</c:v>
                </c:pt>
                <c:pt idx="14">
                  <c:v>9664</c:v>
                </c:pt>
                <c:pt idx="15">
                  <c:v>12219</c:v>
                </c:pt>
                <c:pt idx="16">
                  <c:v>15350</c:v>
                </c:pt>
                <c:pt idx="17">
                  <c:v>15796</c:v>
                </c:pt>
                <c:pt idx="18">
                  <c:v>16152</c:v>
                </c:pt>
                <c:pt idx="19">
                  <c:v>18950</c:v>
                </c:pt>
                <c:pt idx="20">
                  <c:v>22140</c:v>
                </c:pt>
                <c:pt idx="21">
                  <c:v>25008</c:v>
                </c:pt>
                <c:pt idx="22">
                  <c:v>28199</c:v>
                </c:pt>
                <c:pt idx="23">
                  <c:v>30981</c:v>
                </c:pt>
                <c:pt idx="24">
                  <c:v>31362</c:v>
                </c:pt>
                <c:pt idx="25">
                  <c:v>31589</c:v>
                </c:pt>
                <c:pt idx="26">
                  <c:v>33543</c:v>
                </c:pt>
                <c:pt idx="27">
                  <c:v>35231</c:v>
                </c:pt>
                <c:pt idx="28">
                  <c:v>36880</c:v>
                </c:pt>
                <c:pt idx="29">
                  <c:v>38415</c:v>
                </c:pt>
                <c:pt idx="30">
                  <c:v>39725</c:v>
                </c:pt>
                <c:pt idx="31">
                  <c:v>39881</c:v>
                </c:pt>
                <c:pt idx="32">
                  <c:v>39990</c:v>
                </c:pt>
                <c:pt idx="33">
                  <c:v>40635</c:v>
                </c:pt>
                <c:pt idx="34">
                  <c:v>41409</c:v>
                </c:pt>
                <c:pt idx="35">
                  <c:v>42062</c:v>
                </c:pt>
                <c:pt idx="36">
                  <c:v>42670</c:v>
                </c:pt>
                <c:pt idx="37">
                  <c:v>43234</c:v>
                </c:pt>
                <c:pt idx="38">
                  <c:v>43256</c:v>
                </c:pt>
                <c:pt idx="39">
                  <c:v>43274</c:v>
                </c:pt>
                <c:pt idx="40">
                  <c:v>43632</c:v>
                </c:pt>
                <c:pt idx="41">
                  <c:v>43974</c:v>
                </c:pt>
                <c:pt idx="42">
                  <c:v>44335</c:v>
                </c:pt>
                <c:pt idx="43">
                  <c:v>44665</c:v>
                </c:pt>
                <c:pt idx="44">
                  <c:v>45083</c:v>
                </c:pt>
                <c:pt idx="45">
                  <c:v>45105</c:v>
                </c:pt>
                <c:pt idx="46">
                  <c:v>45126</c:v>
                </c:pt>
                <c:pt idx="47">
                  <c:v>45395</c:v>
                </c:pt>
                <c:pt idx="48">
                  <c:v>45717</c:v>
                </c:pt>
                <c:pt idx="49">
                  <c:v>46119</c:v>
                </c:pt>
                <c:pt idx="50">
                  <c:v>46591</c:v>
                </c:pt>
                <c:pt idx="51">
                  <c:v>47123</c:v>
                </c:pt>
                <c:pt idx="52">
                  <c:v>47297</c:v>
                </c:pt>
                <c:pt idx="53">
                  <c:v>47351</c:v>
                </c:pt>
                <c:pt idx="54">
                  <c:v>47902</c:v>
                </c:pt>
                <c:pt idx="55">
                  <c:v>48390</c:v>
                </c:pt>
                <c:pt idx="56">
                  <c:v>48960</c:v>
                </c:pt>
                <c:pt idx="57">
                  <c:v>49629</c:v>
                </c:pt>
                <c:pt idx="58">
                  <c:v>50386</c:v>
                </c:pt>
                <c:pt idx="59">
                  <c:v>50516</c:v>
                </c:pt>
                <c:pt idx="60">
                  <c:v>50575</c:v>
                </c:pt>
                <c:pt idx="61">
                  <c:v>51172</c:v>
                </c:pt>
                <c:pt idx="62">
                  <c:v>51987</c:v>
                </c:pt>
                <c:pt idx="63">
                  <c:v>52811</c:v>
                </c:pt>
                <c:pt idx="64">
                  <c:v>54037</c:v>
                </c:pt>
                <c:pt idx="65">
                  <c:v>55027</c:v>
                </c:pt>
                <c:pt idx="66">
                  <c:v>55102</c:v>
                </c:pt>
                <c:pt idx="67">
                  <c:v>55150</c:v>
                </c:pt>
                <c:pt idx="68">
                  <c:v>56038</c:v>
                </c:pt>
                <c:pt idx="69">
                  <c:v>56990</c:v>
                </c:pt>
                <c:pt idx="70">
                  <c:v>57986</c:v>
                </c:pt>
                <c:pt idx="71">
                  <c:v>58896</c:v>
                </c:pt>
                <c:pt idx="72">
                  <c:v>60084</c:v>
                </c:pt>
                <c:pt idx="73">
                  <c:v>60334</c:v>
                </c:pt>
                <c:pt idx="74">
                  <c:v>60525</c:v>
                </c:pt>
                <c:pt idx="75">
                  <c:v>61303</c:v>
                </c:pt>
                <c:pt idx="76">
                  <c:v>62230</c:v>
                </c:pt>
                <c:pt idx="77">
                  <c:v>63178</c:v>
                </c:pt>
                <c:pt idx="78">
                  <c:v>64505</c:v>
                </c:pt>
                <c:pt idx="79">
                  <c:v>65610</c:v>
                </c:pt>
                <c:pt idx="80">
                  <c:v>65846</c:v>
                </c:pt>
                <c:pt idx="81">
                  <c:v>66089</c:v>
                </c:pt>
                <c:pt idx="82">
                  <c:v>66793</c:v>
                </c:pt>
                <c:pt idx="83">
                  <c:v>67834</c:v>
                </c:pt>
                <c:pt idx="84">
                  <c:v>68855</c:v>
                </c:pt>
                <c:pt idx="85">
                  <c:v>69750</c:v>
                </c:pt>
                <c:pt idx="86">
                  <c:v>70725</c:v>
                </c:pt>
                <c:pt idx="87">
                  <c:v>71085</c:v>
                </c:pt>
                <c:pt idx="88">
                  <c:v>71257</c:v>
                </c:pt>
                <c:pt idx="89">
                  <c:v>71789</c:v>
                </c:pt>
                <c:pt idx="90">
                  <c:v>72339</c:v>
                </c:pt>
                <c:pt idx="91">
                  <c:v>72845</c:v>
                </c:pt>
                <c:pt idx="92">
                  <c:v>73403</c:v>
                </c:pt>
                <c:pt idx="93">
                  <c:v>73984</c:v>
                </c:pt>
                <c:pt idx="94">
                  <c:v>74135</c:v>
                </c:pt>
                <c:pt idx="95">
                  <c:v>74302</c:v>
                </c:pt>
                <c:pt idx="96">
                  <c:v>74650</c:v>
                </c:pt>
                <c:pt idx="97">
                  <c:v>75097</c:v>
                </c:pt>
                <c:pt idx="98">
                  <c:v>75564</c:v>
                </c:pt>
                <c:pt idx="99">
                  <c:v>76018</c:v>
                </c:pt>
                <c:pt idx="100">
                  <c:v>76122</c:v>
                </c:pt>
                <c:pt idx="101">
                  <c:v>76164</c:v>
                </c:pt>
                <c:pt idx="102">
                  <c:v>76213</c:v>
                </c:pt>
                <c:pt idx="103">
                  <c:v>76249</c:v>
                </c:pt>
                <c:pt idx="104">
                  <c:v>76494</c:v>
                </c:pt>
                <c:pt idx="105">
                  <c:v>76811</c:v>
                </c:pt>
                <c:pt idx="106">
                  <c:v>77349</c:v>
                </c:pt>
                <c:pt idx="107">
                  <c:v>77923</c:v>
                </c:pt>
                <c:pt idx="108">
                  <c:v>78082</c:v>
                </c:pt>
                <c:pt idx="109">
                  <c:v>78183</c:v>
                </c:pt>
                <c:pt idx="110">
                  <c:v>78610</c:v>
                </c:pt>
                <c:pt idx="111">
                  <c:v>78990</c:v>
                </c:pt>
                <c:pt idx="112">
                  <c:v>79444</c:v>
                </c:pt>
                <c:pt idx="113">
                  <c:v>80104</c:v>
                </c:pt>
                <c:pt idx="114">
                  <c:v>80830</c:v>
                </c:pt>
                <c:pt idx="115">
                  <c:v>81034</c:v>
                </c:pt>
                <c:pt idx="116">
                  <c:v>81226</c:v>
                </c:pt>
                <c:pt idx="117">
                  <c:v>81748</c:v>
                </c:pt>
                <c:pt idx="118">
                  <c:v>82251</c:v>
                </c:pt>
                <c:pt idx="119">
                  <c:v>82909</c:v>
                </c:pt>
                <c:pt idx="120">
                  <c:v>83634</c:v>
                </c:pt>
                <c:pt idx="121">
                  <c:v>84345</c:v>
                </c:pt>
                <c:pt idx="122">
                  <c:v>84545</c:v>
                </c:pt>
                <c:pt idx="123">
                  <c:v>84733</c:v>
                </c:pt>
                <c:pt idx="124">
                  <c:v>85337</c:v>
                </c:pt>
                <c:pt idx="125">
                  <c:v>85884</c:v>
                </c:pt>
                <c:pt idx="126">
                  <c:v>86586</c:v>
                </c:pt>
                <c:pt idx="127">
                  <c:v>87342</c:v>
                </c:pt>
                <c:pt idx="128">
                  <c:v>87989</c:v>
                </c:pt>
                <c:pt idx="129">
                  <c:v>88143</c:v>
                </c:pt>
                <c:pt idx="130">
                  <c:v>88296</c:v>
                </c:pt>
                <c:pt idx="131">
                  <c:v>88803</c:v>
                </c:pt>
                <c:pt idx="132">
                  <c:v>89325</c:v>
                </c:pt>
                <c:pt idx="133">
                  <c:v>89849</c:v>
                </c:pt>
                <c:pt idx="134">
                  <c:v>90397</c:v>
                </c:pt>
                <c:pt idx="135">
                  <c:v>90968</c:v>
                </c:pt>
                <c:pt idx="136">
                  <c:v>91186</c:v>
                </c:pt>
                <c:pt idx="137">
                  <c:v>91293</c:v>
                </c:pt>
                <c:pt idx="138">
                  <c:v>91690</c:v>
                </c:pt>
                <c:pt idx="139">
                  <c:v>92169</c:v>
                </c:pt>
                <c:pt idx="140">
                  <c:v>92602</c:v>
                </c:pt>
                <c:pt idx="141">
                  <c:v>93037</c:v>
                </c:pt>
                <c:pt idx="142">
                  <c:v>93404</c:v>
                </c:pt>
                <c:pt idx="143">
                  <c:v>93566</c:v>
                </c:pt>
                <c:pt idx="144">
                  <c:v>93670</c:v>
                </c:pt>
                <c:pt idx="145">
                  <c:v>93986</c:v>
                </c:pt>
                <c:pt idx="146">
                  <c:v>94359</c:v>
                </c:pt>
                <c:pt idx="147">
                  <c:v>94720</c:v>
                </c:pt>
                <c:pt idx="148">
                  <c:v>95112</c:v>
                </c:pt>
                <c:pt idx="149">
                  <c:v>95477</c:v>
                </c:pt>
                <c:pt idx="150">
                  <c:v>95622</c:v>
                </c:pt>
                <c:pt idx="151">
                  <c:v>95720</c:v>
                </c:pt>
                <c:pt idx="152">
                  <c:v>95935</c:v>
                </c:pt>
                <c:pt idx="153">
                  <c:v>96174</c:v>
                </c:pt>
                <c:pt idx="154">
                  <c:v>96524</c:v>
                </c:pt>
                <c:pt idx="155">
                  <c:v>96851</c:v>
                </c:pt>
                <c:pt idx="156">
                  <c:v>97136</c:v>
                </c:pt>
                <c:pt idx="157">
                  <c:v>97279</c:v>
                </c:pt>
                <c:pt idx="158">
                  <c:v>97368</c:v>
                </c:pt>
                <c:pt idx="159">
                  <c:v>97646</c:v>
                </c:pt>
                <c:pt idx="160">
                  <c:v>97916</c:v>
                </c:pt>
                <c:pt idx="161">
                  <c:v>98260</c:v>
                </c:pt>
                <c:pt idx="162">
                  <c:v>98613</c:v>
                </c:pt>
                <c:pt idx="163">
                  <c:v>98939</c:v>
                </c:pt>
                <c:pt idx="164">
                  <c:v>99075</c:v>
                </c:pt>
                <c:pt idx="165">
                  <c:v>99204</c:v>
                </c:pt>
                <c:pt idx="166">
                  <c:v>99542</c:v>
                </c:pt>
                <c:pt idx="167">
                  <c:v>99882</c:v>
                </c:pt>
                <c:pt idx="168">
                  <c:v>100232</c:v>
                </c:pt>
                <c:pt idx="169">
                  <c:v>100594</c:v>
                </c:pt>
                <c:pt idx="170">
                  <c:v>100894</c:v>
                </c:pt>
                <c:pt idx="171">
                  <c:v>101102</c:v>
                </c:pt>
                <c:pt idx="172">
                  <c:v>101219</c:v>
                </c:pt>
                <c:pt idx="173">
                  <c:v>101463</c:v>
                </c:pt>
                <c:pt idx="174">
                  <c:v>101737</c:v>
                </c:pt>
                <c:pt idx="175">
                  <c:v>101977</c:v>
                </c:pt>
                <c:pt idx="176">
                  <c:v>102247</c:v>
                </c:pt>
                <c:pt idx="177">
                  <c:v>102464</c:v>
                </c:pt>
                <c:pt idx="178">
                  <c:v>102582</c:v>
                </c:pt>
                <c:pt idx="179">
                  <c:v>102676</c:v>
                </c:pt>
                <c:pt idx="180">
                  <c:v>102852</c:v>
                </c:pt>
                <c:pt idx="181">
                  <c:v>103073</c:v>
                </c:pt>
                <c:pt idx="182">
                  <c:v>103260</c:v>
                </c:pt>
                <c:pt idx="183">
                  <c:v>103421</c:v>
                </c:pt>
                <c:pt idx="184">
                  <c:v>103607</c:v>
                </c:pt>
                <c:pt idx="185">
                  <c:v>103698</c:v>
                </c:pt>
                <c:pt idx="186">
                  <c:v>103766</c:v>
                </c:pt>
                <c:pt idx="187">
                  <c:v>103947</c:v>
                </c:pt>
                <c:pt idx="188">
                  <c:v>104115</c:v>
                </c:pt>
                <c:pt idx="189">
                  <c:v>104296</c:v>
                </c:pt>
                <c:pt idx="190">
                  <c:v>104437</c:v>
                </c:pt>
                <c:pt idx="191">
                  <c:v>104629</c:v>
                </c:pt>
                <c:pt idx="192">
                  <c:v>104664</c:v>
                </c:pt>
                <c:pt idx="193">
                  <c:v>104709</c:v>
                </c:pt>
                <c:pt idx="194">
                  <c:v>104758</c:v>
                </c:pt>
                <c:pt idx="195">
                  <c:v>104790</c:v>
                </c:pt>
                <c:pt idx="196">
                  <c:v>104955</c:v>
                </c:pt>
                <c:pt idx="197">
                  <c:v>105133</c:v>
                </c:pt>
                <c:pt idx="198">
                  <c:v>105306</c:v>
                </c:pt>
                <c:pt idx="199">
                  <c:v>105366</c:v>
                </c:pt>
                <c:pt idx="200">
                  <c:v>105415</c:v>
                </c:pt>
                <c:pt idx="201">
                  <c:v>105577</c:v>
                </c:pt>
                <c:pt idx="202">
                  <c:v>105762</c:v>
                </c:pt>
                <c:pt idx="203">
                  <c:v>105965</c:v>
                </c:pt>
                <c:pt idx="204">
                  <c:v>106156</c:v>
                </c:pt>
                <c:pt idx="205">
                  <c:v>106339</c:v>
                </c:pt>
                <c:pt idx="206">
                  <c:v>106389</c:v>
                </c:pt>
                <c:pt idx="207">
                  <c:v>106448</c:v>
                </c:pt>
                <c:pt idx="208">
                  <c:v>106618</c:v>
                </c:pt>
                <c:pt idx="209">
                  <c:v>106767</c:v>
                </c:pt>
                <c:pt idx="210">
                  <c:v>106947</c:v>
                </c:pt>
                <c:pt idx="211">
                  <c:v>107125</c:v>
                </c:pt>
                <c:pt idx="212">
                  <c:v>107272</c:v>
                </c:pt>
                <c:pt idx="213">
                  <c:v>107315</c:v>
                </c:pt>
                <c:pt idx="214">
                  <c:v>107341</c:v>
                </c:pt>
                <c:pt idx="215">
                  <c:v>107509</c:v>
                </c:pt>
                <c:pt idx="216">
                  <c:v>107679</c:v>
                </c:pt>
                <c:pt idx="217">
                  <c:v>107831</c:v>
                </c:pt>
                <c:pt idx="218">
                  <c:v>107980</c:v>
                </c:pt>
                <c:pt idx="219">
                  <c:v>108144</c:v>
                </c:pt>
                <c:pt idx="220">
                  <c:v>108183</c:v>
                </c:pt>
                <c:pt idx="221">
                  <c:v>108223</c:v>
                </c:pt>
                <c:pt idx="222">
                  <c:v>108322</c:v>
                </c:pt>
                <c:pt idx="223">
                  <c:v>108434</c:v>
                </c:pt>
                <c:pt idx="224">
                  <c:v>108563</c:v>
                </c:pt>
                <c:pt idx="225">
                  <c:v>108672</c:v>
                </c:pt>
                <c:pt idx="226">
                  <c:v>108791</c:v>
                </c:pt>
                <c:pt idx="227">
                  <c:v>108813</c:v>
                </c:pt>
                <c:pt idx="228">
                  <c:v>108838</c:v>
                </c:pt>
                <c:pt idx="229">
                  <c:v>108923</c:v>
                </c:pt>
                <c:pt idx="230">
                  <c:v>109002</c:v>
                </c:pt>
                <c:pt idx="231">
                  <c:v>109072</c:v>
                </c:pt>
                <c:pt idx="232">
                  <c:v>109178</c:v>
                </c:pt>
                <c:pt idx="233">
                  <c:v>109241</c:v>
                </c:pt>
                <c:pt idx="234">
                  <c:v>109262</c:v>
                </c:pt>
                <c:pt idx="235">
                  <c:v>109284</c:v>
                </c:pt>
                <c:pt idx="236">
                  <c:v>109367</c:v>
                </c:pt>
                <c:pt idx="237">
                  <c:v>109446</c:v>
                </c:pt>
                <c:pt idx="238">
                  <c:v>109508</c:v>
                </c:pt>
                <c:pt idx="239">
                  <c:v>109578</c:v>
                </c:pt>
                <c:pt idx="240">
                  <c:v>109693</c:v>
                </c:pt>
                <c:pt idx="241">
                  <c:v>109707</c:v>
                </c:pt>
                <c:pt idx="242">
                  <c:v>109718</c:v>
                </c:pt>
                <c:pt idx="243">
                  <c:v>109814</c:v>
                </c:pt>
                <c:pt idx="244">
                  <c:v>109902</c:v>
                </c:pt>
                <c:pt idx="245">
                  <c:v>109968</c:v>
                </c:pt>
                <c:pt idx="246">
                  <c:v>110040</c:v>
                </c:pt>
                <c:pt idx="247">
                  <c:v>110129</c:v>
                </c:pt>
                <c:pt idx="248">
                  <c:v>110145</c:v>
                </c:pt>
                <c:pt idx="249">
                  <c:v>110161</c:v>
                </c:pt>
                <c:pt idx="250">
                  <c:v>110233</c:v>
                </c:pt>
                <c:pt idx="251">
                  <c:v>110294</c:v>
                </c:pt>
                <c:pt idx="252">
                  <c:v>110351</c:v>
                </c:pt>
                <c:pt idx="253">
                  <c:v>110425</c:v>
                </c:pt>
                <c:pt idx="254">
                  <c:v>110501</c:v>
                </c:pt>
                <c:pt idx="255">
                  <c:v>110513</c:v>
                </c:pt>
                <c:pt idx="256">
                  <c:v>110523</c:v>
                </c:pt>
                <c:pt idx="257">
                  <c:v>110582</c:v>
                </c:pt>
                <c:pt idx="258">
                  <c:v>110624</c:v>
                </c:pt>
                <c:pt idx="259">
                  <c:v>110674</c:v>
                </c:pt>
                <c:pt idx="260">
                  <c:v>110730</c:v>
                </c:pt>
                <c:pt idx="261">
                  <c:v>110781</c:v>
                </c:pt>
                <c:pt idx="262">
                  <c:v>110798</c:v>
                </c:pt>
                <c:pt idx="263">
                  <c:v>110805</c:v>
                </c:pt>
                <c:pt idx="264">
                  <c:v>110849</c:v>
                </c:pt>
                <c:pt idx="265">
                  <c:v>110912</c:v>
                </c:pt>
                <c:pt idx="266">
                  <c:v>110961</c:v>
                </c:pt>
                <c:pt idx="267">
                  <c:v>111018</c:v>
                </c:pt>
                <c:pt idx="268">
                  <c:v>111085</c:v>
                </c:pt>
                <c:pt idx="269">
                  <c:v>111102</c:v>
                </c:pt>
                <c:pt idx="270">
                  <c:v>111109</c:v>
                </c:pt>
                <c:pt idx="271">
                  <c:v>111147</c:v>
                </c:pt>
                <c:pt idx="272">
                  <c:v>111196</c:v>
                </c:pt>
                <c:pt idx="273">
                  <c:v>111239</c:v>
                </c:pt>
                <c:pt idx="274">
                  <c:v>111292</c:v>
                </c:pt>
                <c:pt idx="275">
                  <c:v>111364</c:v>
                </c:pt>
                <c:pt idx="276">
                  <c:v>111374</c:v>
                </c:pt>
                <c:pt idx="277">
                  <c:v>111378</c:v>
                </c:pt>
                <c:pt idx="278">
                  <c:v>111421</c:v>
                </c:pt>
                <c:pt idx="279">
                  <c:v>111423</c:v>
                </c:pt>
                <c:pt idx="280">
                  <c:v>111464</c:v>
                </c:pt>
                <c:pt idx="281">
                  <c:v>111503</c:v>
                </c:pt>
                <c:pt idx="282">
                  <c:v>111537</c:v>
                </c:pt>
                <c:pt idx="283">
                  <c:v>111544</c:v>
                </c:pt>
                <c:pt idx="284">
                  <c:v>111551</c:v>
                </c:pt>
                <c:pt idx="285">
                  <c:v>111579</c:v>
                </c:pt>
                <c:pt idx="286">
                  <c:v>111626</c:v>
                </c:pt>
                <c:pt idx="287">
                  <c:v>111675</c:v>
                </c:pt>
                <c:pt idx="288">
                  <c:v>111703</c:v>
                </c:pt>
                <c:pt idx="289">
                  <c:v>111753</c:v>
                </c:pt>
                <c:pt idx="290">
                  <c:v>111763</c:v>
                </c:pt>
                <c:pt idx="291">
                  <c:v>111768</c:v>
                </c:pt>
                <c:pt idx="292">
                  <c:v>111797</c:v>
                </c:pt>
                <c:pt idx="293">
                  <c:v>111818</c:v>
                </c:pt>
                <c:pt idx="294">
                  <c:v>111855</c:v>
                </c:pt>
                <c:pt idx="295">
                  <c:v>111886</c:v>
                </c:pt>
                <c:pt idx="296">
                  <c:v>111932</c:v>
                </c:pt>
                <c:pt idx="297">
                  <c:v>111944</c:v>
                </c:pt>
                <c:pt idx="298">
                  <c:v>111961</c:v>
                </c:pt>
                <c:pt idx="299">
                  <c:v>112013</c:v>
                </c:pt>
                <c:pt idx="300">
                  <c:v>112069</c:v>
                </c:pt>
                <c:pt idx="301">
                  <c:v>112127</c:v>
                </c:pt>
                <c:pt idx="302">
                  <c:v>112241</c:v>
                </c:pt>
                <c:pt idx="303">
                  <c:v>112365</c:v>
                </c:pt>
                <c:pt idx="304">
                  <c:v>112391</c:v>
                </c:pt>
                <c:pt idx="305">
                  <c:v>112415</c:v>
                </c:pt>
                <c:pt idx="306">
                  <c:v>112539</c:v>
                </c:pt>
                <c:pt idx="307">
                  <c:v>112707</c:v>
                </c:pt>
                <c:pt idx="308">
                  <c:v>112909</c:v>
                </c:pt>
                <c:pt idx="309">
                  <c:v>112946</c:v>
                </c:pt>
                <c:pt idx="310">
                  <c:v>113110</c:v>
                </c:pt>
                <c:pt idx="311">
                  <c:v>113156</c:v>
                </c:pt>
                <c:pt idx="312">
                  <c:v>113188</c:v>
                </c:pt>
                <c:pt idx="313">
                  <c:v>113356</c:v>
                </c:pt>
                <c:pt idx="314">
                  <c:v>113557</c:v>
                </c:pt>
                <c:pt idx="315">
                  <c:v>113747</c:v>
                </c:pt>
                <c:pt idx="316">
                  <c:v>113980</c:v>
                </c:pt>
                <c:pt idx="317">
                  <c:v>114229</c:v>
                </c:pt>
                <c:pt idx="318">
                  <c:v>114287</c:v>
                </c:pt>
                <c:pt idx="319">
                  <c:v>114325</c:v>
                </c:pt>
                <c:pt idx="320">
                  <c:v>114510</c:v>
                </c:pt>
                <c:pt idx="321">
                  <c:v>114665</c:v>
                </c:pt>
                <c:pt idx="322">
                  <c:v>114853</c:v>
                </c:pt>
                <c:pt idx="323">
                  <c:v>115030</c:v>
                </c:pt>
                <c:pt idx="324">
                  <c:v>115235</c:v>
                </c:pt>
                <c:pt idx="325">
                  <c:v>115294</c:v>
                </c:pt>
                <c:pt idx="326">
                  <c:v>115333</c:v>
                </c:pt>
                <c:pt idx="327">
                  <c:v>115523</c:v>
                </c:pt>
                <c:pt idx="328">
                  <c:v>115726</c:v>
                </c:pt>
                <c:pt idx="329">
                  <c:v>115776</c:v>
                </c:pt>
                <c:pt idx="330">
                  <c:v>116000</c:v>
                </c:pt>
                <c:pt idx="331">
                  <c:v>116277</c:v>
                </c:pt>
                <c:pt idx="332">
                  <c:v>116368</c:v>
                </c:pt>
                <c:pt idx="333">
                  <c:v>116435</c:v>
                </c:pt>
                <c:pt idx="334">
                  <c:v>116621</c:v>
                </c:pt>
                <c:pt idx="335">
                  <c:v>116800</c:v>
                </c:pt>
                <c:pt idx="336">
                  <c:v>117025</c:v>
                </c:pt>
                <c:pt idx="337">
                  <c:v>117240</c:v>
                </c:pt>
                <c:pt idx="338">
                  <c:v>117476</c:v>
                </c:pt>
                <c:pt idx="339">
                  <c:v>117538</c:v>
                </c:pt>
                <c:pt idx="340">
                  <c:v>117561</c:v>
                </c:pt>
                <c:pt idx="341">
                  <c:v>117711</c:v>
                </c:pt>
                <c:pt idx="342">
                  <c:v>117870</c:v>
                </c:pt>
                <c:pt idx="343">
                  <c:v>118025</c:v>
                </c:pt>
                <c:pt idx="344">
                  <c:v>118141</c:v>
                </c:pt>
                <c:pt idx="345">
                  <c:v>118255</c:v>
                </c:pt>
                <c:pt idx="346">
                  <c:v>118282</c:v>
                </c:pt>
                <c:pt idx="347">
                  <c:v>118293</c:v>
                </c:pt>
                <c:pt idx="348">
                  <c:v>118393</c:v>
                </c:pt>
                <c:pt idx="349">
                  <c:v>118478</c:v>
                </c:pt>
                <c:pt idx="350">
                  <c:v>118575</c:v>
                </c:pt>
                <c:pt idx="351">
                  <c:v>118650</c:v>
                </c:pt>
                <c:pt idx="352">
                  <c:v>118732</c:v>
                </c:pt>
                <c:pt idx="353">
                  <c:v>118746</c:v>
                </c:pt>
                <c:pt idx="354">
                  <c:v>118757</c:v>
                </c:pt>
                <c:pt idx="355">
                  <c:v>118843</c:v>
                </c:pt>
                <c:pt idx="356">
                  <c:v>118905</c:v>
                </c:pt>
                <c:pt idx="357">
                  <c:v>118985</c:v>
                </c:pt>
                <c:pt idx="358">
                  <c:v>119066</c:v>
                </c:pt>
                <c:pt idx="359">
                  <c:v>119150</c:v>
                </c:pt>
                <c:pt idx="360">
                  <c:v>119175</c:v>
                </c:pt>
                <c:pt idx="361">
                  <c:v>119179</c:v>
                </c:pt>
                <c:pt idx="362">
                  <c:v>119237</c:v>
                </c:pt>
                <c:pt idx="363">
                  <c:v>119277</c:v>
                </c:pt>
                <c:pt idx="364">
                  <c:v>119316</c:v>
                </c:pt>
                <c:pt idx="365">
                  <c:v>119336</c:v>
                </c:pt>
                <c:pt idx="366">
                  <c:v>119336</c:v>
                </c:pt>
                <c:pt idx="367">
                  <c:v>119363</c:v>
                </c:pt>
                <c:pt idx="368">
                  <c:v>119399</c:v>
                </c:pt>
                <c:pt idx="369">
                  <c:v>119438</c:v>
                </c:pt>
                <c:pt idx="370">
                  <c:v>119471</c:v>
                </c:pt>
                <c:pt idx="371">
                  <c:v>119474</c:v>
                </c:pt>
                <c:pt idx="372">
                  <c:v>119477</c:v>
                </c:pt>
                <c:pt idx="373">
                  <c:v>119523</c:v>
                </c:pt>
                <c:pt idx="374">
                  <c:v>119554</c:v>
                </c:pt>
                <c:pt idx="375">
                  <c:v>119613</c:v>
                </c:pt>
                <c:pt idx="376">
                  <c:v>119668</c:v>
                </c:pt>
                <c:pt idx="377">
                  <c:v>119754</c:v>
                </c:pt>
                <c:pt idx="378">
                  <c:v>119762</c:v>
                </c:pt>
                <c:pt idx="379">
                  <c:v>119767</c:v>
                </c:pt>
                <c:pt idx="380">
                  <c:v>119807</c:v>
                </c:pt>
                <c:pt idx="381">
                  <c:v>119857</c:v>
                </c:pt>
                <c:pt idx="382">
                  <c:v>119905</c:v>
                </c:pt>
                <c:pt idx="383">
                  <c:v>119964</c:v>
                </c:pt>
                <c:pt idx="384">
                  <c:v>120048</c:v>
                </c:pt>
                <c:pt idx="385">
                  <c:v>120062</c:v>
                </c:pt>
                <c:pt idx="386">
                  <c:v>120068</c:v>
                </c:pt>
                <c:pt idx="387">
                  <c:v>120113</c:v>
                </c:pt>
                <c:pt idx="388">
                  <c:v>120162</c:v>
                </c:pt>
                <c:pt idx="389">
                  <c:v>120201</c:v>
                </c:pt>
                <c:pt idx="390">
                  <c:v>120230</c:v>
                </c:pt>
                <c:pt idx="391">
                  <c:v>120267</c:v>
                </c:pt>
                <c:pt idx="392">
                  <c:v>120270</c:v>
                </c:pt>
                <c:pt idx="393">
                  <c:v>120273</c:v>
                </c:pt>
                <c:pt idx="394">
                  <c:v>120288</c:v>
                </c:pt>
                <c:pt idx="395">
                  <c:v>120305</c:v>
                </c:pt>
                <c:pt idx="396">
                  <c:v>120321</c:v>
                </c:pt>
                <c:pt idx="397">
                  <c:v>120339</c:v>
                </c:pt>
                <c:pt idx="398">
                  <c:v>120368</c:v>
                </c:pt>
                <c:pt idx="399">
                  <c:v>120375</c:v>
                </c:pt>
                <c:pt idx="400">
                  <c:v>120376</c:v>
                </c:pt>
                <c:pt idx="401">
                  <c:v>120389</c:v>
                </c:pt>
                <c:pt idx="402">
                  <c:v>120397</c:v>
                </c:pt>
                <c:pt idx="403">
                  <c:v>120407</c:v>
                </c:pt>
                <c:pt idx="404">
                  <c:v>120417</c:v>
                </c:pt>
                <c:pt idx="405">
                  <c:v>120433</c:v>
                </c:pt>
                <c:pt idx="406">
                  <c:v>120434</c:v>
                </c:pt>
                <c:pt idx="407">
                  <c:v>120434</c:v>
                </c:pt>
                <c:pt idx="408">
                  <c:v>120440</c:v>
                </c:pt>
                <c:pt idx="409">
                  <c:v>120443</c:v>
                </c:pt>
                <c:pt idx="410">
                  <c:v>120446</c:v>
                </c:pt>
                <c:pt idx="411">
                  <c:v>120453</c:v>
                </c:pt>
                <c:pt idx="412">
                  <c:v>120459</c:v>
                </c:pt>
                <c:pt idx="413">
                  <c:v>120459</c:v>
                </c:pt>
                <c:pt idx="414">
                  <c:v>120463</c:v>
                </c:pt>
                <c:pt idx="415">
                  <c:v>120467</c:v>
                </c:pt>
                <c:pt idx="416">
                  <c:v>120468</c:v>
                </c:pt>
                <c:pt idx="417">
                  <c:v>120471</c:v>
                </c:pt>
                <c:pt idx="418">
                  <c:v>120473</c:v>
                </c:pt>
                <c:pt idx="419">
                  <c:v>120473</c:v>
                </c:pt>
                <c:pt idx="420">
                  <c:v>120477</c:v>
                </c:pt>
                <c:pt idx="421">
                  <c:v>120477</c:v>
                </c:pt>
                <c:pt idx="422">
                  <c:v>120479</c:v>
                </c:pt>
                <c:pt idx="423">
                  <c:v>120483</c:v>
                </c:pt>
                <c:pt idx="424">
                  <c:v>120486</c:v>
                </c:pt>
                <c:pt idx="425">
                  <c:v>120486</c:v>
                </c:pt>
                <c:pt idx="426">
                  <c:v>120490</c:v>
                </c:pt>
                <c:pt idx="427">
                  <c:v>120492</c:v>
                </c:pt>
                <c:pt idx="428">
                  <c:v>120494</c:v>
                </c:pt>
                <c:pt idx="429">
                  <c:v>120504</c:v>
                </c:pt>
                <c:pt idx="430">
                  <c:v>120505</c:v>
                </c:pt>
                <c:pt idx="431">
                  <c:v>120506</c:v>
                </c:pt>
                <c:pt idx="432">
                  <c:v>120506</c:v>
                </c:pt>
                <c:pt idx="433">
                  <c:v>120514</c:v>
                </c:pt>
                <c:pt idx="434">
                  <c:v>120517</c:v>
                </c:pt>
                <c:pt idx="435">
                  <c:v>120528</c:v>
                </c:pt>
                <c:pt idx="436">
                  <c:v>120528</c:v>
                </c:pt>
                <c:pt idx="437">
                  <c:v>120532</c:v>
                </c:pt>
                <c:pt idx="438">
                  <c:v>120536</c:v>
                </c:pt>
                <c:pt idx="439">
                  <c:v>120539</c:v>
                </c:pt>
                <c:pt idx="440">
                  <c:v>120545</c:v>
                </c:pt>
                <c:pt idx="441">
                  <c:v>1205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E$1:$QD$1</c:f>
              <c:strCache>
                <c:ptCount val="442"/>
                <c:pt idx="0">
                  <c:v>23-XII.20</c:v>
                </c:pt>
                <c:pt idx="1">
                  <c:v>24-XII.20</c:v>
                </c:pt>
                <c:pt idx="2">
                  <c:v>25-XII.20</c:v>
                </c:pt>
                <c:pt idx="3">
                  <c:v>26-XII.20</c:v>
                </c:pt>
                <c:pt idx="4">
                  <c:v>27.XII.20</c:v>
                </c:pt>
                <c:pt idx="5">
                  <c:v>28.XII.20</c:v>
                </c:pt>
                <c:pt idx="6">
                  <c:v>29.XII.20</c:v>
                </c:pt>
                <c:pt idx="7">
                  <c:v>30.XII.20</c:v>
                </c:pt>
                <c:pt idx="8">
                  <c:v>31.XII.20</c:v>
                </c:pt>
                <c:pt idx="9">
                  <c:v>1.I.21</c:v>
                </c:pt>
                <c:pt idx="10">
                  <c:v>2.I.21</c:v>
                </c:pt>
                <c:pt idx="11">
                  <c:v>3.I.21</c:v>
                </c:pt>
                <c:pt idx="12">
                  <c:v>4.I.21</c:v>
                </c:pt>
                <c:pt idx="13">
                  <c:v>5.I.21</c:v>
                </c:pt>
                <c:pt idx="14">
                  <c:v>6.I.21</c:v>
                </c:pt>
                <c:pt idx="15">
                  <c:v>7.I.21</c:v>
                </c:pt>
                <c:pt idx="16">
                  <c:v>8.I.21</c:v>
                </c:pt>
                <c:pt idx="17">
                  <c:v>9.I.21</c:v>
                </c:pt>
                <c:pt idx="18">
                  <c:v>10.I.21</c:v>
                </c:pt>
                <c:pt idx="19">
                  <c:v>11.I.21</c:v>
                </c:pt>
                <c:pt idx="20">
                  <c:v>12.I.21</c:v>
                </c:pt>
                <c:pt idx="21">
                  <c:v>13.I.21</c:v>
                </c:pt>
                <c:pt idx="22">
                  <c:v>14.I.21</c:v>
                </c:pt>
                <c:pt idx="23">
                  <c:v>15.I.21</c:v>
                </c:pt>
                <c:pt idx="24">
                  <c:v>16.I.21</c:v>
                </c:pt>
                <c:pt idx="25">
                  <c:v>17.I.21</c:v>
                </c:pt>
                <c:pt idx="26">
                  <c:v>18.I.21</c:v>
                </c:pt>
                <c:pt idx="27">
                  <c:v>19.I.21</c:v>
                </c:pt>
                <c:pt idx="28">
                  <c:v>20.I.21</c:v>
                </c:pt>
                <c:pt idx="29">
                  <c:v>21.I.21</c:v>
                </c:pt>
                <c:pt idx="30">
                  <c:v>22.I.21</c:v>
                </c:pt>
                <c:pt idx="31">
                  <c:v>23.I.21</c:v>
                </c:pt>
                <c:pt idx="32">
                  <c:v>24.I.21</c:v>
                </c:pt>
                <c:pt idx="33">
                  <c:v>25.I.21</c:v>
                </c:pt>
                <c:pt idx="34">
                  <c:v>26.I.21</c:v>
                </c:pt>
                <c:pt idx="35">
                  <c:v>27.I.21</c:v>
                </c:pt>
                <c:pt idx="36">
                  <c:v>28.I.21</c:v>
                </c:pt>
                <c:pt idx="37">
                  <c:v>29.I.21</c:v>
                </c:pt>
                <c:pt idx="38">
                  <c:v>30.I.21</c:v>
                </c:pt>
                <c:pt idx="39">
                  <c:v>31.I.21</c:v>
                </c:pt>
                <c:pt idx="40">
                  <c:v>1.II.21</c:v>
                </c:pt>
                <c:pt idx="41">
                  <c:v>2.II.21</c:v>
                </c:pt>
                <c:pt idx="42">
                  <c:v>3.II.21</c:v>
                </c:pt>
                <c:pt idx="43">
                  <c:v>4.II.21</c:v>
                </c:pt>
                <c:pt idx="44">
                  <c:v>5.II.21</c:v>
                </c:pt>
                <c:pt idx="45">
                  <c:v>6.II.21</c:v>
                </c:pt>
                <c:pt idx="46">
                  <c:v>7.II.21</c:v>
                </c:pt>
                <c:pt idx="47">
                  <c:v>8.II.21</c:v>
                </c:pt>
                <c:pt idx="48">
                  <c:v>9.II.21</c:v>
                </c:pt>
                <c:pt idx="49">
                  <c:v>10.II.21</c:v>
                </c:pt>
                <c:pt idx="50">
                  <c:v>11.II.21</c:v>
                </c:pt>
                <c:pt idx="51">
                  <c:v>12.II.21</c:v>
                </c:pt>
                <c:pt idx="52">
                  <c:v>13.II.21</c:v>
                </c:pt>
                <c:pt idx="53">
                  <c:v>14.II.21</c:v>
                </c:pt>
                <c:pt idx="54">
                  <c:v>15.II.21</c:v>
                </c:pt>
                <c:pt idx="55">
                  <c:v>16.II.21</c:v>
                </c:pt>
                <c:pt idx="56">
                  <c:v>17.II.21</c:v>
                </c:pt>
                <c:pt idx="57">
                  <c:v>18.II.21</c:v>
                </c:pt>
                <c:pt idx="58">
                  <c:v>19.II.21</c:v>
                </c:pt>
                <c:pt idx="59">
                  <c:v>20.II.21</c:v>
                </c:pt>
                <c:pt idx="60">
                  <c:v>21.II.21</c:v>
                </c:pt>
                <c:pt idx="61">
                  <c:v>22.II.21</c:v>
                </c:pt>
                <c:pt idx="62">
                  <c:v>23.II.21</c:v>
                </c:pt>
                <c:pt idx="63">
                  <c:v>24.II.21</c:v>
                </c:pt>
                <c:pt idx="64">
                  <c:v>25.II.21</c:v>
                </c:pt>
                <c:pt idx="65">
                  <c:v>26.II.21</c:v>
                </c:pt>
                <c:pt idx="66">
                  <c:v>27.II.21</c:v>
                </c:pt>
                <c:pt idx="67">
                  <c:v>28.II.21</c:v>
                </c:pt>
                <c:pt idx="68">
                  <c:v>1.III.21</c:v>
                </c:pt>
                <c:pt idx="69">
                  <c:v>2.III.21</c:v>
                </c:pt>
                <c:pt idx="70">
                  <c:v>3.III.21</c:v>
                </c:pt>
                <c:pt idx="71">
                  <c:v>4.III.21</c:v>
                </c:pt>
                <c:pt idx="72">
                  <c:v>5.III.21</c:v>
                </c:pt>
                <c:pt idx="73">
                  <c:v>6.III.21</c:v>
                </c:pt>
                <c:pt idx="74">
                  <c:v>7.III.21</c:v>
                </c:pt>
                <c:pt idx="75">
                  <c:v>8.III.21</c:v>
                </c:pt>
                <c:pt idx="76">
                  <c:v>9.III.21</c:v>
                </c:pt>
                <c:pt idx="77">
                  <c:v>10.III.21</c:v>
                </c:pt>
                <c:pt idx="78">
                  <c:v>11.III.21</c:v>
                </c:pt>
                <c:pt idx="79">
                  <c:v>12.III.21</c:v>
                </c:pt>
                <c:pt idx="80">
                  <c:v>13.III.21</c:v>
                </c:pt>
                <c:pt idx="81">
                  <c:v>14.III.21</c:v>
                </c:pt>
                <c:pt idx="82">
                  <c:v>15.III.21</c:v>
                </c:pt>
                <c:pt idx="83">
                  <c:v>16.III.21</c:v>
                </c:pt>
                <c:pt idx="84">
                  <c:v>17.III.21</c:v>
                </c:pt>
                <c:pt idx="85">
                  <c:v>18.III.21</c:v>
                </c:pt>
                <c:pt idx="86">
                  <c:v>19.III.21</c:v>
                </c:pt>
                <c:pt idx="87">
                  <c:v>20.III.21</c:v>
                </c:pt>
                <c:pt idx="88">
                  <c:v>21.III.21</c:v>
                </c:pt>
                <c:pt idx="89">
                  <c:v>22.III.21</c:v>
                </c:pt>
                <c:pt idx="90">
                  <c:v>23.III.21</c:v>
                </c:pt>
                <c:pt idx="91">
                  <c:v>24.III.21</c:v>
                </c:pt>
                <c:pt idx="92">
                  <c:v>25.III.21</c:v>
                </c:pt>
                <c:pt idx="93">
                  <c:v>26.III.21</c:v>
                </c:pt>
                <c:pt idx="94">
                  <c:v>27.III.21</c:v>
                </c:pt>
                <c:pt idx="95">
                  <c:v>28.III.21</c:v>
                </c:pt>
                <c:pt idx="96">
                  <c:v>29.III.21</c:v>
                </c:pt>
                <c:pt idx="97">
                  <c:v>30.III.21</c:v>
                </c:pt>
                <c:pt idx="98">
                  <c:v>31.III.21</c:v>
                </c:pt>
                <c:pt idx="99">
                  <c:v>1.IV.21</c:v>
                </c:pt>
                <c:pt idx="100">
                  <c:v>2.IV.21</c:v>
                </c:pt>
                <c:pt idx="101">
                  <c:v>3.IV.21</c:v>
                </c:pt>
                <c:pt idx="102">
                  <c:v>4.IV.21</c:v>
                </c:pt>
                <c:pt idx="103">
                  <c:v>5.IV.21</c:v>
                </c:pt>
                <c:pt idx="104">
                  <c:v>6.IV.21</c:v>
                </c:pt>
                <c:pt idx="105">
                  <c:v>7.IV.21</c:v>
                </c:pt>
                <c:pt idx="106">
                  <c:v>8.IV.21</c:v>
                </c:pt>
                <c:pt idx="107">
                  <c:v>9.IV.21</c:v>
                </c:pt>
                <c:pt idx="108">
                  <c:v>10.IV.21</c:v>
                </c:pt>
                <c:pt idx="109">
                  <c:v>11.IV.21</c:v>
                </c:pt>
                <c:pt idx="110">
                  <c:v>12.IV.21</c:v>
                </c:pt>
                <c:pt idx="111">
                  <c:v>13.IV.21</c:v>
                </c:pt>
                <c:pt idx="112">
                  <c:v>14.IV.21</c:v>
                </c:pt>
                <c:pt idx="113">
                  <c:v>15.IV.21</c:v>
                </c:pt>
                <c:pt idx="114">
                  <c:v>16.IV.21</c:v>
                </c:pt>
                <c:pt idx="115">
                  <c:v>17.IV.21</c:v>
                </c:pt>
                <c:pt idx="116">
                  <c:v>18.IV.21</c:v>
                </c:pt>
                <c:pt idx="117">
                  <c:v>19.IV.21</c:v>
                </c:pt>
                <c:pt idx="118">
                  <c:v>20.IV.21</c:v>
                </c:pt>
                <c:pt idx="119">
                  <c:v>21.IV.21</c:v>
                </c:pt>
                <c:pt idx="120">
                  <c:v>22.IV.21</c:v>
                </c:pt>
                <c:pt idx="121">
                  <c:v>23.IV.21</c:v>
                </c:pt>
                <c:pt idx="122">
                  <c:v>24.IV.21</c:v>
                </c:pt>
                <c:pt idx="123">
                  <c:v>25.IV.21</c:v>
                </c:pt>
                <c:pt idx="124">
                  <c:v>26.IV.21</c:v>
                </c:pt>
                <c:pt idx="125">
                  <c:v>27.IV.21</c:v>
                </c:pt>
                <c:pt idx="126">
                  <c:v>28.IV.21</c:v>
                </c:pt>
                <c:pt idx="127">
                  <c:v>29.IV.21</c:v>
                </c:pt>
                <c:pt idx="128">
                  <c:v>30.IV.21</c:v>
                </c:pt>
                <c:pt idx="129">
                  <c:v>1.V.21</c:v>
                </c:pt>
                <c:pt idx="130">
                  <c:v>2.V.21</c:v>
                </c:pt>
                <c:pt idx="131">
                  <c:v>3.V.21</c:v>
                </c:pt>
                <c:pt idx="132">
                  <c:v>4.V.21</c:v>
                </c:pt>
                <c:pt idx="133">
                  <c:v>5.V.21</c:v>
                </c:pt>
                <c:pt idx="134">
                  <c:v>6.V.21</c:v>
                </c:pt>
                <c:pt idx="135">
                  <c:v>7.V.21</c:v>
                </c:pt>
                <c:pt idx="136">
                  <c:v>8.V.21</c:v>
                </c:pt>
                <c:pt idx="137">
                  <c:v>9.V.21</c:v>
                </c:pt>
                <c:pt idx="138">
                  <c:v>10.V.21</c:v>
                </c:pt>
                <c:pt idx="139">
                  <c:v>11.V.21</c:v>
                </c:pt>
                <c:pt idx="140">
                  <c:v>12.V.21</c:v>
                </c:pt>
                <c:pt idx="141">
                  <c:v>13.V.21</c:v>
                </c:pt>
                <c:pt idx="142">
                  <c:v>14.V.21</c:v>
                </c:pt>
                <c:pt idx="143">
                  <c:v>15.V.21</c:v>
                </c:pt>
                <c:pt idx="144">
                  <c:v>16.V.21</c:v>
                </c:pt>
                <c:pt idx="145">
                  <c:v>17.V.21</c:v>
                </c:pt>
                <c:pt idx="146">
                  <c:v>18.V.21</c:v>
                </c:pt>
                <c:pt idx="147">
                  <c:v>19.V.21</c:v>
                </c:pt>
                <c:pt idx="148">
                  <c:v>20.V.21</c:v>
                </c:pt>
                <c:pt idx="149">
                  <c:v>21.V.21</c:v>
                </c:pt>
                <c:pt idx="150">
                  <c:v>22.V.21</c:v>
                </c:pt>
                <c:pt idx="151">
                  <c:v>23.V.21</c:v>
                </c:pt>
                <c:pt idx="152">
                  <c:v>24.V.21</c:v>
                </c:pt>
                <c:pt idx="153">
                  <c:v>25.V.21</c:v>
                </c:pt>
                <c:pt idx="154">
                  <c:v>26.V.21</c:v>
                </c:pt>
                <c:pt idx="155">
                  <c:v>27.V.21</c:v>
                </c:pt>
                <c:pt idx="156">
                  <c:v>28.V.21</c:v>
                </c:pt>
                <c:pt idx="157">
                  <c:v>29.V.21</c:v>
                </c:pt>
                <c:pt idx="158">
                  <c:v>30.V.21</c:v>
                </c:pt>
                <c:pt idx="159">
                  <c:v>31.V.21</c:v>
                </c:pt>
                <c:pt idx="160">
                  <c:v>1.VI.21</c:v>
                </c:pt>
                <c:pt idx="161">
                  <c:v>2.VI.21</c:v>
                </c:pt>
                <c:pt idx="162">
                  <c:v>3.VI.21</c:v>
                </c:pt>
                <c:pt idx="163">
                  <c:v>4.VI.21</c:v>
                </c:pt>
                <c:pt idx="164">
                  <c:v>5.VI.21</c:v>
                </c:pt>
                <c:pt idx="165">
                  <c:v>6.VI.21</c:v>
                </c:pt>
                <c:pt idx="166">
                  <c:v>7.VI.21</c:v>
                </c:pt>
                <c:pt idx="167">
                  <c:v>8.VI.21</c:v>
                </c:pt>
                <c:pt idx="168">
                  <c:v>9.VI.21</c:v>
                </c:pt>
                <c:pt idx="169">
                  <c:v>10.VI.21</c:v>
                </c:pt>
                <c:pt idx="170">
                  <c:v>11.VI.21</c:v>
                </c:pt>
                <c:pt idx="171">
                  <c:v>12.VI.21</c:v>
                </c:pt>
                <c:pt idx="172">
                  <c:v>13.VI.21</c:v>
                </c:pt>
                <c:pt idx="173">
                  <c:v>14.VI.21</c:v>
                </c:pt>
                <c:pt idx="174">
                  <c:v>15.VI.21</c:v>
                </c:pt>
                <c:pt idx="175">
                  <c:v>16.VI.21</c:v>
                </c:pt>
                <c:pt idx="176">
                  <c:v>17.VI.21</c:v>
                </c:pt>
                <c:pt idx="177">
                  <c:v>18.VI.21</c:v>
                </c:pt>
                <c:pt idx="178">
                  <c:v>19.VI.21</c:v>
                </c:pt>
                <c:pt idx="179">
                  <c:v>20.VI.21</c:v>
                </c:pt>
                <c:pt idx="180">
                  <c:v>21.VI.21</c:v>
                </c:pt>
                <c:pt idx="181">
                  <c:v>22.VI.21</c:v>
                </c:pt>
                <c:pt idx="182">
                  <c:v>23.VI.21</c:v>
                </c:pt>
                <c:pt idx="183">
                  <c:v>24.VI.21</c:v>
                </c:pt>
                <c:pt idx="184">
                  <c:v>25.VI.21</c:v>
                </c:pt>
                <c:pt idx="185">
                  <c:v>26.VI.21</c:v>
                </c:pt>
                <c:pt idx="186">
                  <c:v>27.VI.21</c:v>
                </c:pt>
                <c:pt idx="187">
                  <c:v>28.VI.21</c:v>
                </c:pt>
                <c:pt idx="188">
                  <c:v>29.VI.21</c:v>
                </c:pt>
                <c:pt idx="189">
                  <c:v>30.VI.21</c:v>
                </c:pt>
                <c:pt idx="190">
                  <c:v>1.VII.21</c:v>
                </c:pt>
                <c:pt idx="191">
                  <c:v>2.VII.21</c:v>
                </c:pt>
                <c:pt idx="192">
                  <c:v>3.VII.21</c:v>
                </c:pt>
                <c:pt idx="193">
                  <c:v>4.VII.21</c:v>
                </c:pt>
                <c:pt idx="194">
                  <c:v>5.VII.21</c:v>
                </c:pt>
                <c:pt idx="195">
                  <c:v>6.VII.21</c:v>
                </c:pt>
                <c:pt idx="196">
                  <c:v>7.VII.21</c:v>
                </c:pt>
                <c:pt idx="197">
                  <c:v>8.VII.21</c:v>
                </c:pt>
                <c:pt idx="198">
                  <c:v>9.VII.21</c:v>
                </c:pt>
                <c:pt idx="199">
                  <c:v>10.VII.21</c:v>
                </c:pt>
                <c:pt idx="200">
                  <c:v>11.VII.21</c:v>
                </c:pt>
                <c:pt idx="201">
                  <c:v>12.VII.21</c:v>
                </c:pt>
                <c:pt idx="202">
                  <c:v>13.VII.21</c:v>
                </c:pt>
                <c:pt idx="203">
                  <c:v>14.VII.21</c:v>
                </c:pt>
                <c:pt idx="204">
                  <c:v>15.VII.21</c:v>
                </c:pt>
                <c:pt idx="205">
                  <c:v>16.VII.21</c:v>
                </c:pt>
                <c:pt idx="206">
                  <c:v>17.VII.21</c:v>
                </c:pt>
                <c:pt idx="207">
                  <c:v>18.VII.21</c:v>
                </c:pt>
                <c:pt idx="208">
                  <c:v>19.VII.21</c:v>
                </c:pt>
                <c:pt idx="209">
                  <c:v>20.VII.21</c:v>
                </c:pt>
                <c:pt idx="210">
                  <c:v>21.VII.21</c:v>
                </c:pt>
                <c:pt idx="211">
                  <c:v>22.VII.21</c:v>
                </c:pt>
                <c:pt idx="212">
                  <c:v>23.VII.21</c:v>
                </c:pt>
                <c:pt idx="213">
                  <c:v>24.VII.21</c:v>
                </c:pt>
                <c:pt idx="214">
                  <c:v>25.VII.21</c:v>
                </c:pt>
                <c:pt idx="215">
                  <c:v>26.VII.21</c:v>
                </c:pt>
                <c:pt idx="216">
                  <c:v>27.VII.21</c:v>
                </c:pt>
                <c:pt idx="217">
                  <c:v>28.VII.21</c:v>
                </c:pt>
                <c:pt idx="218">
                  <c:v>29.VII.21</c:v>
                </c:pt>
                <c:pt idx="219">
                  <c:v>30.VII.21</c:v>
                </c:pt>
                <c:pt idx="220">
                  <c:v>31.VII.21</c:v>
                </c:pt>
                <c:pt idx="221">
                  <c:v>1.VIII.21</c:v>
                </c:pt>
                <c:pt idx="222">
                  <c:v>2.VIII.21</c:v>
                </c:pt>
                <c:pt idx="223">
                  <c:v>3.VIII.21</c:v>
                </c:pt>
                <c:pt idx="224">
                  <c:v>4.VIII.21</c:v>
                </c:pt>
                <c:pt idx="225">
                  <c:v>5.VIII.21</c:v>
                </c:pt>
                <c:pt idx="226">
                  <c:v>6.VIII.21</c:v>
                </c:pt>
                <c:pt idx="227">
                  <c:v>7.VIII.21</c:v>
                </c:pt>
                <c:pt idx="228">
                  <c:v>8.VIII.21</c:v>
                </c:pt>
                <c:pt idx="229">
                  <c:v>9.VIII.21</c:v>
                </c:pt>
                <c:pt idx="230">
                  <c:v>10.VIII.21</c:v>
                </c:pt>
                <c:pt idx="231">
                  <c:v>11.VIII.21</c:v>
                </c:pt>
                <c:pt idx="232">
                  <c:v>12.VIII.21</c:v>
                </c:pt>
                <c:pt idx="233">
                  <c:v>13.VIII.21</c:v>
                </c:pt>
                <c:pt idx="234">
                  <c:v>14.VIII.21</c:v>
                </c:pt>
                <c:pt idx="235">
                  <c:v>15.VIII.21</c:v>
                </c:pt>
                <c:pt idx="236">
                  <c:v>16.VIII.21</c:v>
                </c:pt>
                <c:pt idx="237">
                  <c:v>17.VIII.21</c:v>
                </c:pt>
                <c:pt idx="238">
                  <c:v>18.VIII.21</c:v>
                </c:pt>
                <c:pt idx="239">
                  <c:v>19.VIII.21</c:v>
                </c:pt>
                <c:pt idx="240">
                  <c:v>20.VIII.21</c:v>
                </c:pt>
                <c:pt idx="241">
                  <c:v>21.VIII.21</c:v>
                </c:pt>
                <c:pt idx="242">
                  <c:v>22.VIII.21</c:v>
                </c:pt>
                <c:pt idx="243">
                  <c:v>23.VIII.21</c:v>
                </c:pt>
                <c:pt idx="244">
                  <c:v>24.VIII.21</c:v>
                </c:pt>
                <c:pt idx="245">
                  <c:v>25.VIII.21</c:v>
                </c:pt>
                <c:pt idx="246">
                  <c:v>26.VIII.21</c:v>
                </c:pt>
                <c:pt idx="247">
                  <c:v>27.VIII.21</c:v>
                </c:pt>
                <c:pt idx="248">
                  <c:v>28.VIII.21</c:v>
                </c:pt>
                <c:pt idx="249">
                  <c:v>29.VIII.21</c:v>
                </c:pt>
                <c:pt idx="250">
                  <c:v>30.VIII.21</c:v>
                </c:pt>
                <c:pt idx="251">
                  <c:v>31.VIII.21</c:v>
                </c:pt>
                <c:pt idx="252">
                  <c:v>1.IX.21</c:v>
                </c:pt>
                <c:pt idx="253">
                  <c:v>2.IX.21</c:v>
                </c:pt>
                <c:pt idx="254">
                  <c:v>3.IX.21</c:v>
                </c:pt>
                <c:pt idx="255">
                  <c:v>4.IX.21</c:v>
                </c:pt>
                <c:pt idx="256">
                  <c:v>5.IX.21</c:v>
                </c:pt>
                <c:pt idx="257">
                  <c:v>6.IX.21</c:v>
                </c:pt>
                <c:pt idx="258">
                  <c:v>7.IX.21</c:v>
                </c:pt>
                <c:pt idx="259">
                  <c:v>8.IX.21</c:v>
                </c:pt>
                <c:pt idx="260">
                  <c:v>9.IX.21</c:v>
                </c:pt>
                <c:pt idx="261">
                  <c:v>10.IX.21</c:v>
                </c:pt>
                <c:pt idx="262">
                  <c:v>11.IX.21</c:v>
                </c:pt>
                <c:pt idx="263">
                  <c:v>12.IX.21</c:v>
                </c:pt>
                <c:pt idx="264">
                  <c:v>13.IX.21</c:v>
                </c:pt>
                <c:pt idx="265">
                  <c:v>14.IX.21</c:v>
                </c:pt>
                <c:pt idx="266">
                  <c:v>15.IX.21</c:v>
                </c:pt>
                <c:pt idx="267">
                  <c:v>16.IX.21</c:v>
                </c:pt>
                <c:pt idx="268">
                  <c:v>17.IX.21</c:v>
                </c:pt>
                <c:pt idx="269">
                  <c:v>18.IX.21</c:v>
                </c:pt>
                <c:pt idx="270">
                  <c:v>19.IX.21</c:v>
                </c:pt>
                <c:pt idx="271">
                  <c:v>20.IX.21</c:v>
                </c:pt>
                <c:pt idx="272">
                  <c:v>21.IX.21</c:v>
                </c:pt>
                <c:pt idx="273">
                  <c:v>22.IX.21</c:v>
                </c:pt>
                <c:pt idx="274">
                  <c:v>23.IX.21</c:v>
                </c:pt>
                <c:pt idx="275">
                  <c:v>24.IX.21</c:v>
                </c:pt>
                <c:pt idx="276">
                  <c:v>25.IX.21</c:v>
                </c:pt>
                <c:pt idx="277">
                  <c:v>26.IX.21</c:v>
                </c:pt>
                <c:pt idx="278">
                  <c:v>27.IX.21</c:v>
                </c:pt>
                <c:pt idx="279">
                  <c:v>28.IX.21</c:v>
                </c:pt>
                <c:pt idx="280">
                  <c:v>29.IX.21</c:v>
                </c:pt>
                <c:pt idx="281">
                  <c:v>30.IX.21</c:v>
                </c:pt>
                <c:pt idx="282">
                  <c:v>1.X.21</c:v>
                </c:pt>
                <c:pt idx="283">
                  <c:v>2.X.21</c:v>
                </c:pt>
                <c:pt idx="284">
                  <c:v>3.X.21</c:v>
                </c:pt>
                <c:pt idx="285">
                  <c:v>4.X.21</c:v>
                </c:pt>
                <c:pt idx="286">
                  <c:v>5.X.21</c:v>
                </c:pt>
                <c:pt idx="287">
                  <c:v>6.X.21</c:v>
                </c:pt>
                <c:pt idx="288">
                  <c:v>7.X.21</c:v>
                </c:pt>
                <c:pt idx="289">
                  <c:v>8.X.21</c:v>
                </c:pt>
                <c:pt idx="290">
                  <c:v>9.X.21</c:v>
                </c:pt>
                <c:pt idx="291">
                  <c:v>10.X.21</c:v>
                </c:pt>
                <c:pt idx="292">
                  <c:v>11.X.21</c:v>
                </c:pt>
                <c:pt idx="293">
                  <c:v>12.X.21</c:v>
                </c:pt>
                <c:pt idx="294">
                  <c:v>13.X.21</c:v>
                </c:pt>
                <c:pt idx="295">
                  <c:v>14.X.21</c:v>
                </c:pt>
                <c:pt idx="296">
                  <c:v>15.X.21</c:v>
                </c:pt>
                <c:pt idx="297">
                  <c:v>16.X.21</c:v>
                </c:pt>
                <c:pt idx="298">
                  <c:v>17.X.21</c:v>
                </c:pt>
                <c:pt idx="299">
                  <c:v>18.X.21</c:v>
                </c:pt>
                <c:pt idx="300">
                  <c:v>19.X.21</c:v>
                </c:pt>
                <c:pt idx="301">
                  <c:v>20.X.21</c:v>
                </c:pt>
                <c:pt idx="302">
                  <c:v>21.X.21</c:v>
                </c:pt>
                <c:pt idx="303">
                  <c:v>22.X.21</c:v>
                </c:pt>
                <c:pt idx="304">
                  <c:v>23.X.21</c:v>
                </c:pt>
                <c:pt idx="305">
                  <c:v>24.X.21</c:v>
                </c:pt>
                <c:pt idx="306">
                  <c:v>25.X.21</c:v>
                </c:pt>
                <c:pt idx="307">
                  <c:v>26.X.21</c:v>
                </c:pt>
                <c:pt idx="308">
                  <c:v>27.X.21</c:v>
                </c:pt>
                <c:pt idx="309">
                  <c:v>28.X.21</c:v>
                </c:pt>
                <c:pt idx="310">
                  <c:v>29.X.21</c:v>
                </c:pt>
                <c:pt idx="311">
                  <c:v>30.X.21</c:v>
                </c:pt>
                <c:pt idx="312">
                  <c:v>31.X.21</c:v>
                </c:pt>
                <c:pt idx="313">
                  <c:v>1.XI.21</c:v>
                </c:pt>
                <c:pt idx="314">
                  <c:v>2.XI.21</c:v>
                </c:pt>
                <c:pt idx="315">
                  <c:v>3.XI.21</c:v>
                </c:pt>
                <c:pt idx="316">
                  <c:v>4.XI.21</c:v>
                </c:pt>
                <c:pt idx="317">
                  <c:v>5.XI.21</c:v>
                </c:pt>
                <c:pt idx="318">
                  <c:v>6.XI.21</c:v>
                </c:pt>
                <c:pt idx="319">
                  <c:v>7.XI.21</c:v>
                </c:pt>
                <c:pt idx="320">
                  <c:v>8.XI.21</c:v>
                </c:pt>
                <c:pt idx="321">
                  <c:v>9.XI.21</c:v>
                </c:pt>
                <c:pt idx="322">
                  <c:v>10.XI.21</c:v>
                </c:pt>
                <c:pt idx="323">
                  <c:v>11.XI.21</c:v>
                </c:pt>
                <c:pt idx="324">
                  <c:v>12.XI.21</c:v>
                </c:pt>
                <c:pt idx="325">
                  <c:v>13.XI.21</c:v>
                </c:pt>
                <c:pt idx="326">
                  <c:v>14.XI.21</c:v>
                </c:pt>
                <c:pt idx="327">
                  <c:v>15.XI.21</c:v>
                </c:pt>
                <c:pt idx="328">
                  <c:v>16.XI.21</c:v>
                </c:pt>
                <c:pt idx="329">
                  <c:v>17.XI.21</c:v>
                </c:pt>
                <c:pt idx="330">
                  <c:v>18.XI.21</c:v>
                </c:pt>
                <c:pt idx="331">
                  <c:v>19.XI.21</c:v>
                </c:pt>
                <c:pt idx="332">
                  <c:v>20.XI.21</c:v>
                </c:pt>
                <c:pt idx="333">
                  <c:v>21.XI.21</c:v>
                </c:pt>
                <c:pt idx="334">
                  <c:v>22.XI.21</c:v>
                </c:pt>
                <c:pt idx="335">
                  <c:v>23.XI.21</c:v>
                </c:pt>
                <c:pt idx="336">
                  <c:v>24.XI.21</c:v>
                </c:pt>
                <c:pt idx="337">
                  <c:v>25.XI.21</c:v>
                </c:pt>
                <c:pt idx="338">
                  <c:v>26.XI.21</c:v>
                </c:pt>
                <c:pt idx="339">
                  <c:v>27.XI.21</c:v>
                </c:pt>
                <c:pt idx="340">
                  <c:v>28.XI.21</c:v>
                </c:pt>
                <c:pt idx="341">
                  <c:v>29.XI.21</c:v>
                </c:pt>
                <c:pt idx="342">
                  <c:v>30.XI.21</c:v>
                </c:pt>
                <c:pt idx="343">
                  <c:v>1.XII.21</c:v>
                </c:pt>
                <c:pt idx="344">
                  <c:v>2.XII.21</c:v>
                </c:pt>
                <c:pt idx="345">
                  <c:v>3.XII.21</c:v>
                </c:pt>
                <c:pt idx="346">
                  <c:v>4.XII.21</c:v>
                </c:pt>
                <c:pt idx="347">
                  <c:v>5.XII.21</c:v>
                </c:pt>
                <c:pt idx="348">
                  <c:v>6.XII.21</c:v>
                </c:pt>
                <c:pt idx="349">
                  <c:v>7.XII.21</c:v>
                </c:pt>
                <c:pt idx="350">
                  <c:v>8.XII.21</c:v>
                </c:pt>
                <c:pt idx="351">
                  <c:v>9.XII.21</c:v>
                </c:pt>
                <c:pt idx="352">
                  <c:v>10.XII.21</c:v>
                </c:pt>
                <c:pt idx="353">
                  <c:v>11.XII.21</c:v>
                </c:pt>
                <c:pt idx="354">
                  <c:v>12.XII.21</c:v>
                </c:pt>
                <c:pt idx="355">
                  <c:v>13.XII.21</c:v>
                </c:pt>
                <c:pt idx="356">
                  <c:v>14.XII.21</c:v>
                </c:pt>
                <c:pt idx="357">
                  <c:v>15.XII.21</c:v>
                </c:pt>
                <c:pt idx="358">
                  <c:v>16.XII.21</c:v>
                </c:pt>
                <c:pt idx="359">
                  <c:v>17.XII.21</c:v>
                </c:pt>
                <c:pt idx="360">
                  <c:v>18.XII.21</c:v>
                </c:pt>
                <c:pt idx="361">
                  <c:v>19.XII.21</c:v>
                </c:pt>
                <c:pt idx="362">
                  <c:v>20.XII.21</c:v>
                </c:pt>
                <c:pt idx="363">
                  <c:v>21.XII.21</c:v>
                </c:pt>
                <c:pt idx="364">
                  <c:v>22.XII.21</c:v>
                </c:pt>
                <c:pt idx="365">
                  <c:v>23.XII.21</c:v>
                </c:pt>
                <c:pt idx="366">
                  <c:v>24.XII.21</c:v>
                </c:pt>
                <c:pt idx="367">
                  <c:v>27.XII.21</c:v>
                </c:pt>
                <c:pt idx="368">
                  <c:v>28.XII.21</c:v>
                </c:pt>
                <c:pt idx="369">
                  <c:v>29.XII.21</c:v>
                </c:pt>
                <c:pt idx="370">
                  <c:v>30.XII.21</c:v>
                </c:pt>
                <c:pt idx="371">
                  <c:v>31.XII.21</c:v>
                </c:pt>
                <c:pt idx="372">
                  <c:v>2.I.22</c:v>
                </c:pt>
                <c:pt idx="373">
                  <c:v>3.I.22</c:v>
                </c:pt>
                <c:pt idx="374">
                  <c:v>4.I.22</c:v>
                </c:pt>
                <c:pt idx="375">
                  <c:v>5.I.22</c:v>
                </c:pt>
                <c:pt idx="376">
                  <c:v>6.I.22</c:v>
                </c:pt>
                <c:pt idx="377">
                  <c:v>7.I.22</c:v>
                </c:pt>
                <c:pt idx="378">
                  <c:v>8.I.22</c:v>
                </c:pt>
                <c:pt idx="379">
                  <c:v>9.I.22</c:v>
                </c:pt>
                <c:pt idx="380">
                  <c:v>10.I.22</c:v>
                </c:pt>
                <c:pt idx="381">
                  <c:v>11.I.22</c:v>
                </c:pt>
                <c:pt idx="382">
                  <c:v>12.I.22</c:v>
                </c:pt>
                <c:pt idx="383">
                  <c:v>13.I.22</c:v>
                </c:pt>
                <c:pt idx="384">
                  <c:v>14.I.22</c:v>
                </c:pt>
                <c:pt idx="385">
                  <c:v>15.I.22</c:v>
                </c:pt>
                <c:pt idx="386">
                  <c:v>16.I.22</c:v>
                </c:pt>
                <c:pt idx="387">
                  <c:v>17.I.22</c:v>
                </c:pt>
                <c:pt idx="388">
                  <c:v>18.I.22</c:v>
                </c:pt>
                <c:pt idx="389">
                  <c:v>19.I.22</c:v>
                </c:pt>
                <c:pt idx="390">
                  <c:v>20.I.22</c:v>
                </c:pt>
                <c:pt idx="391">
                  <c:v>21.I.22</c:v>
                </c:pt>
                <c:pt idx="392">
                  <c:v>22.I.22</c:v>
                </c:pt>
                <c:pt idx="393">
                  <c:v>23.I.22</c:v>
                </c:pt>
                <c:pt idx="394">
                  <c:v>24.I.22</c:v>
                </c:pt>
                <c:pt idx="395">
                  <c:v>25.I.22</c:v>
                </c:pt>
                <c:pt idx="396">
                  <c:v>26.I.22</c:v>
                </c:pt>
                <c:pt idx="397">
                  <c:v>27.I.22</c:v>
                </c:pt>
                <c:pt idx="398">
                  <c:v>28.I.22</c:v>
                </c:pt>
                <c:pt idx="399">
                  <c:v>29.I.22</c:v>
                </c:pt>
                <c:pt idx="400">
                  <c:v>30.I.22</c:v>
                </c:pt>
                <c:pt idx="401">
                  <c:v>31.I.22</c:v>
                </c:pt>
                <c:pt idx="402">
                  <c:v>1.II.22</c:v>
                </c:pt>
                <c:pt idx="403">
                  <c:v>2.II.22</c:v>
                </c:pt>
                <c:pt idx="404">
                  <c:v>3.II.22</c:v>
                </c:pt>
                <c:pt idx="405">
                  <c:v>4.II.22</c:v>
                </c:pt>
                <c:pt idx="406">
                  <c:v>5.II.22</c:v>
                </c:pt>
                <c:pt idx="407">
                  <c:v>6.II.22</c:v>
                </c:pt>
                <c:pt idx="408">
                  <c:v>7.II.22</c:v>
                </c:pt>
                <c:pt idx="409">
                  <c:v>8.II.22</c:v>
                </c:pt>
                <c:pt idx="410">
                  <c:v>9.II.22</c:v>
                </c:pt>
                <c:pt idx="411">
                  <c:v>10.II.22</c:v>
                </c:pt>
                <c:pt idx="412">
                  <c:v>11.II.22</c:v>
                </c:pt>
                <c:pt idx="413">
                  <c:v>12.II.22</c:v>
                </c:pt>
                <c:pt idx="414">
                  <c:v>14.II.22</c:v>
                </c:pt>
                <c:pt idx="415">
                  <c:v>15.II.22</c:v>
                </c:pt>
                <c:pt idx="416">
                  <c:v>16.II.22</c:v>
                </c:pt>
                <c:pt idx="417">
                  <c:v>17.II.22</c:v>
                </c:pt>
                <c:pt idx="418">
                  <c:v>18.II.22</c:v>
                </c:pt>
                <c:pt idx="419">
                  <c:v>19.II.22</c:v>
                </c:pt>
                <c:pt idx="420">
                  <c:v>21.II.22</c:v>
                </c:pt>
                <c:pt idx="421">
                  <c:v>22.II.22</c:v>
                </c:pt>
                <c:pt idx="422">
                  <c:v>23.II.22</c:v>
                </c:pt>
                <c:pt idx="423">
                  <c:v>24.II.22</c:v>
                </c:pt>
                <c:pt idx="424">
                  <c:v>25.II.22</c:v>
                </c:pt>
                <c:pt idx="425">
                  <c:v>28.II.22</c:v>
                </c:pt>
                <c:pt idx="426">
                  <c:v>1.III.22</c:v>
                </c:pt>
                <c:pt idx="427">
                  <c:v>2.III.22</c:v>
                </c:pt>
                <c:pt idx="428">
                  <c:v>3.III.22</c:v>
                </c:pt>
                <c:pt idx="429">
                  <c:v>4.III.22</c:v>
                </c:pt>
                <c:pt idx="430">
                  <c:v>5.III.22</c:v>
                </c:pt>
                <c:pt idx="431">
                  <c:v>7.III.22</c:v>
                </c:pt>
                <c:pt idx="432">
                  <c:v>8.III.22</c:v>
                </c:pt>
                <c:pt idx="433">
                  <c:v>9.III.22</c:v>
                </c:pt>
                <c:pt idx="434">
                  <c:v>10.III.22</c:v>
                </c:pt>
                <c:pt idx="435">
                  <c:v>11.III.22</c:v>
                </c:pt>
                <c:pt idx="436">
                  <c:v>12.III.22</c:v>
                </c:pt>
                <c:pt idx="437">
                  <c:v>14.III.22</c:v>
                </c:pt>
                <c:pt idx="438">
                  <c:v>15.III.22</c:v>
                </c:pt>
                <c:pt idx="439">
                  <c:v>16.III.22</c:v>
                </c:pt>
                <c:pt idx="440">
                  <c:v>17.III.22</c:v>
                </c:pt>
                <c:pt idx="441">
                  <c:v>18.III.22</c:v>
                </c:pt>
              </c:strCache>
            </c:strRef>
          </c:cat>
          <c:val>
            <c:numRef>
              <c:f>List1!$E$4:$QD$4</c:f>
              <c:numCache>
                <c:formatCode>General</c:formatCode>
                <c:ptCount val="442"/>
                <c:pt idx="4">
                  <c:v>193</c:v>
                </c:pt>
                <c:pt idx="5">
                  <c:v>640</c:v>
                </c:pt>
                <c:pt idx="6">
                  <c:v>1248</c:v>
                </c:pt>
                <c:pt idx="7">
                  <c:v>1873</c:v>
                </c:pt>
                <c:pt idx="8">
                  <c:v>2046</c:v>
                </c:pt>
                <c:pt idx="9">
                  <c:v>2075</c:v>
                </c:pt>
                <c:pt idx="10">
                  <c:v>2363</c:v>
                </c:pt>
                <c:pt idx="11">
                  <c:v>2574</c:v>
                </c:pt>
                <c:pt idx="12">
                  <c:v>3201</c:v>
                </c:pt>
                <c:pt idx="13">
                  <c:v>4163</c:v>
                </c:pt>
                <c:pt idx="14">
                  <c:v>5581</c:v>
                </c:pt>
                <c:pt idx="15">
                  <c:v>7181</c:v>
                </c:pt>
                <c:pt idx="16">
                  <c:v>9028</c:v>
                </c:pt>
                <c:pt idx="17">
                  <c:v>9336</c:v>
                </c:pt>
                <c:pt idx="18">
                  <c:v>9645</c:v>
                </c:pt>
                <c:pt idx="19">
                  <c:v>11510</c:v>
                </c:pt>
                <c:pt idx="20">
                  <c:v>13791</c:v>
                </c:pt>
                <c:pt idx="21">
                  <c:v>15831</c:v>
                </c:pt>
                <c:pt idx="22">
                  <c:v>17719</c:v>
                </c:pt>
                <c:pt idx="23">
                  <c:v>19328</c:v>
                </c:pt>
                <c:pt idx="24">
                  <c:v>19548</c:v>
                </c:pt>
                <c:pt idx="25">
                  <c:v>19644</c:v>
                </c:pt>
                <c:pt idx="26">
                  <c:v>20818</c:v>
                </c:pt>
                <c:pt idx="27">
                  <c:v>21752</c:v>
                </c:pt>
                <c:pt idx="28">
                  <c:v>22696</c:v>
                </c:pt>
                <c:pt idx="29">
                  <c:v>23553</c:v>
                </c:pt>
                <c:pt idx="30">
                  <c:v>24305</c:v>
                </c:pt>
                <c:pt idx="31">
                  <c:v>24368</c:v>
                </c:pt>
                <c:pt idx="32">
                  <c:v>24413</c:v>
                </c:pt>
                <c:pt idx="33">
                  <c:v>24864</c:v>
                </c:pt>
                <c:pt idx="34">
                  <c:v>25317</c:v>
                </c:pt>
                <c:pt idx="35">
                  <c:v>25713</c:v>
                </c:pt>
                <c:pt idx="36">
                  <c:v>26116</c:v>
                </c:pt>
                <c:pt idx="37">
                  <c:v>26500</c:v>
                </c:pt>
                <c:pt idx="38">
                  <c:v>26524</c:v>
                </c:pt>
                <c:pt idx="39">
                  <c:v>26556</c:v>
                </c:pt>
                <c:pt idx="40">
                  <c:v>26848</c:v>
                </c:pt>
                <c:pt idx="41">
                  <c:v>27138</c:v>
                </c:pt>
                <c:pt idx="42">
                  <c:v>27370</c:v>
                </c:pt>
                <c:pt idx="43">
                  <c:v>27554</c:v>
                </c:pt>
                <c:pt idx="44">
                  <c:v>27789</c:v>
                </c:pt>
                <c:pt idx="45">
                  <c:v>27798</c:v>
                </c:pt>
                <c:pt idx="46">
                  <c:v>27816</c:v>
                </c:pt>
                <c:pt idx="47">
                  <c:v>28053</c:v>
                </c:pt>
                <c:pt idx="48">
                  <c:v>28248</c:v>
                </c:pt>
                <c:pt idx="49">
                  <c:v>28515</c:v>
                </c:pt>
                <c:pt idx="50">
                  <c:v>28866</c:v>
                </c:pt>
                <c:pt idx="51">
                  <c:v>29258</c:v>
                </c:pt>
                <c:pt idx="52">
                  <c:v>29370</c:v>
                </c:pt>
                <c:pt idx="53">
                  <c:v>29436</c:v>
                </c:pt>
                <c:pt idx="54">
                  <c:v>29851</c:v>
                </c:pt>
                <c:pt idx="55">
                  <c:v>30357</c:v>
                </c:pt>
                <c:pt idx="56">
                  <c:v>30902</c:v>
                </c:pt>
                <c:pt idx="57">
                  <c:v>31459</c:v>
                </c:pt>
                <c:pt idx="58">
                  <c:v>32113</c:v>
                </c:pt>
                <c:pt idx="59">
                  <c:v>32338</c:v>
                </c:pt>
                <c:pt idx="60">
                  <c:v>32395</c:v>
                </c:pt>
                <c:pt idx="61">
                  <c:v>33079</c:v>
                </c:pt>
                <c:pt idx="62">
                  <c:v>34078</c:v>
                </c:pt>
                <c:pt idx="63">
                  <c:v>35157</c:v>
                </c:pt>
                <c:pt idx="64">
                  <c:v>36309</c:v>
                </c:pt>
                <c:pt idx="65">
                  <c:v>37382</c:v>
                </c:pt>
                <c:pt idx="66">
                  <c:v>37540</c:v>
                </c:pt>
                <c:pt idx="67">
                  <c:v>37670</c:v>
                </c:pt>
                <c:pt idx="68">
                  <c:v>38783</c:v>
                </c:pt>
                <c:pt idx="69">
                  <c:v>39992</c:v>
                </c:pt>
                <c:pt idx="70">
                  <c:v>41104</c:v>
                </c:pt>
                <c:pt idx="71">
                  <c:v>42106</c:v>
                </c:pt>
                <c:pt idx="72">
                  <c:v>43293</c:v>
                </c:pt>
                <c:pt idx="73">
                  <c:v>43583</c:v>
                </c:pt>
                <c:pt idx="74">
                  <c:v>43798</c:v>
                </c:pt>
                <c:pt idx="75">
                  <c:v>44641</c:v>
                </c:pt>
                <c:pt idx="76">
                  <c:v>45463</c:v>
                </c:pt>
                <c:pt idx="77">
                  <c:v>46361</c:v>
                </c:pt>
                <c:pt idx="78">
                  <c:v>47558</c:v>
                </c:pt>
                <c:pt idx="79">
                  <c:v>48669</c:v>
                </c:pt>
                <c:pt idx="80">
                  <c:v>48953</c:v>
                </c:pt>
                <c:pt idx="81">
                  <c:v>49194</c:v>
                </c:pt>
                <c:pt idx="82">
                  <c:v>49826</c:v>
                </c:pt>
                <c:pt idx="83">
                  <c:v>50754</c:v>
                </c:pt>
                <c:pt idx="84">
                  <c:v>51693</c:v>
                </c:pt>
                <c:pt idx="85">
                  <c:v>52471</c:v>
                </c:pt>
                <c:pt idx="86">
                  <c:v>53428</c:v>
                </c:pt>
                <c:pt idx="87">
                  <c:v>53828</c:v>
                </c:pt>
                <c:pt idx="88">
                  <c:v>54033</c:v>
                </c:pt>
                <c:pt idx="89">
                  <c:v>54482</c:v>
                </c:pt>
                <c:pt idx="90">
                  <c:v>54977</c:v>
                </c:pt>
                <c:pt idx="91">
                  <c:v>55393</c:v>
                </c:pt>
                <c:pt idx="92">
                  <c:v>55938</c:v>
                </c:pt>
                <c:pt idx="93">
                  <c:v>56516</c:v>
                </c:pt>
                <c:pt idx="94">
                  <c:v>56676</c:v>
                </c:pt>
                <c:pt idx="95">
                  <c:v>56812</c:v>
                </c:pt>
                <c:pt idx="96">
                  <c:v>57122</c:v>
                </c:pt>
                <c:pt idx="97">
                  <c:v>57544</c:v>
                </c:pt>
                <c:pt idx="98">
                  <c:v>58039</c:v>
                </c:pt>
                <c:pt idx="99">
                  <c:v>58469</c:v>
                </c:pt>
                <c:pt idx="100">
                  <c:v>58556</c:v>
                </c:pt>
                <c:pt idx="101">
                  <c:v>58614</c:v>
                </c:pt>
                <c:pt idx="102">
                  <c:v>58652</c:v>
                </c:pt>
                <c:pt idx="103">
                  <c:v>58681</c:v>
                </c:pt>
                <c:pt idx="104">
                  <c:v>58910</c:v>
                </c:pt>
                <c:pt idx="105">
                  <c:v>59173</c:v>
                </c:pt>
                <c:pt idx="106">
                  <c:v>59713</c:v>
                </c:pt>
                <c:pt idx="107">
                  <c:v>60216</c:v>
                </c:pt>
                <c:pt idx="108">
                  <c:v>60389</c:v>
                </c:pt>
                <c:pt idx="109">
                  <c:v>60505</c:v>
                </c:pt>
                <c:pt idx="110">
                  <c:v>60882</c:v>
                </c:pt>
                <c:pt idx="111">
                  <c:v>61195</c:v>
                </c:pt>
                <c:pt idx="112">
                  <c:v>61580</c:v>
                </c:pt>
                <c:pt idx="113">
                  <c:v>62131</c:v>
                </c:pt>
                <c:pt idx="114">
                  <c:v>62778</c:v>
                </c:pt>
                <c:pt idx="115">
                  <c:v>62956</c:v>
                </c:pt>
                <c:pt idx="116">
                  <c:v>63150</c:v>
                </c:pt>
                <c:pt idx="117">
                  <c:v>63608</c:v>
                </c:pt>
                <c:pt idx="118">
                  <c:v>64034</c:v>
                </c:pt>
                <c:pt idx="119">
                  <c:v>64534</c:v>
                </c:pt>
                <c:pt idx="120">
                  <c:v>65134</c:v>
                </c:pt>
                <c:pt idx="121">
                  <c:v>65781</c:v>
                </c:pt>
                <c:pt idx="122">
                  <c:v>65965</c:v>
                </c:pt>
                <c:pt idx="123">
                  <c:v>66116</c:v>
                </c:pt>
                <c:pt idx="124">
                  <c:v>66597</c:v>
                </c:pt>
                <c:pt idx="125">
                  <c:v>67019</c:v>
                </c:pt>
                <c:pt idx="126">
                  <c:v>67587</c:v>
                </c:pt>
                <c:pt idx="127">
                  <c:v>68174</c:v>
                </c:pt>
                <c:pt idx="128">
                  <c:v>68792</c:v>
                </c:pt>
                <c:pt idx="129">
                  <c:v>68946</c:v>
                </c:pt>
                <c:pt idx="130">
                  <c:v>69101</c:v>
                </c:pt>
                <c:pt idx="131">
                  <c:v>69557</c:v>
                </c:pt>
                <c:pt idx="132">
                  <c:v>70016</c:v>
                </c:pt>
                <c:pt idx="133">
                  <c:v>70542</c:v>
                </c:pt>
                <c:pt idx="134">
                  <c:v>71074</c:v>
                </c:pt>
                <c:pt idx="135">
                  <c:v>71636</c:v>
                </c:pt>
                <c:pt idx="136">
                  <c:v>71858</c:v>
                </c:pt>
                <c:pt idx="137">
                  <c:v>72028</c:v>
                </c:pt>
                <c:pt idx="138">
                  <c:v>72504</c:v>
                </c:pt>
                <c:pt idx="139">
                  <c:v>72936</c:v>
                </c:pt>
                <c:pt idx="140">
                  <c:v>73413</c:v>
                </c:pt>
                <c:pt idx="141">
                  <c:v>73962</c:v>
                </c:pt>
                <c:pt idx="142">
                  <c:v>74473</c:v>
                </c:pt>
                <c:pt idx="143">
                  <c:v>74682</c:v>
                </c:pt>
                <c:pt idx="144">
                  <c:v>74832</c:v>
                </c:pt>
                <c:pt idx="145">
                  <c:v>75222</c:v>
                </c:pt>
                <c:pt idx="146">
                  <c:v>75640</c:v>
                </c:pt>
                <c:pt idx="147">
                  <c:v>76104</c:v>
                </c:pt>
                <c:pt idx="148">
                  <c:v>76550</c:v>
                </c:pt>
                <c:pt idx="149">
                  <c:v>77007</c:v>
                </c:pt>
                <c:pt idx="150">
                  <c:v>77185</c:v>
                </c:pt>
                <c:pt idx="151">
                  <c:v>77301</c:v>
                </c:pt>
                <c:pt idx="152">
                  <c:v>77590</c:v>
                </c:pt>
                <c:pt idx="153">
                  <c:v>77920</c:v>
                </c:pt>
                <c:pt idx="154">
                  <c:v>78332</c:v>
                </c:pt>
                <c:pt idx="155">
                  <c:v>78705</c:v>
                </c:pt>
                <c:pt idx="156">
                  <c:v>79145</c:v>
                </c:pt>
                <c:pt idx="157">
                  <c:v>79332</c:v>
                </c:pt>
                <c:pt idx="158">
                  <c:v>79499</c:v>
                </c:pt>
                <c:pt idx="159">
                  <c:v>79842</c:v>
                </c:pt>
                <c:pt idx="160">
                  <c:v>80214</c:v>
                </c:pt>
                <c:pt idx="161">
                  <c:v>80666</c:v>
                </c:pt>
                <c:pt idx="162">
                  <c:v>81083</c:v>
                </c:pt>
                <c:pt idx="163">
                  <c:v>81550</c:v>
                </c:pt>
                <c:pt idx="164">
                  <c:v>81812</c:v>
                </c:pt>
                <c:pt idx="165">
                  <c:v>82056</c:v>
                </c:pt>
                <c:pt idx="166">
                  <c:v>82535</c:v>
                </c:pt>
                <c:pt idx="167">
                  <c:v>83083</c:v>
                </c:pt>
                <c:pt idx="168">
                  <c:v>83572</c:v>
                </c:pt>
                <c:pt idx="169">
                  <c:v>84006</c:v>
                </c:pt>
                <c:pt idx="170">
                  <c:v>84471</c:v>
                </c:pt>
                <c:pt idx="171">
                  <c:v>84764</c:v>
                </c:pt>
                <c:pt idx="172">
                  <c:v>84992</c:v>
                </c:pt>
                <c:pt idx="173">
                  <c:v>85348</c:v>
                </c:pt>
                <c:pt idx="174">
                  <c:v>85784</c:v>
                </c:pt>
                <c:pt idx="175">
                  <c:v>86174</c:v>
                </c:pt>
                <c:pt idx="176">
                  <c:v>86543</c:v>
                </c:pt>
                <c:pt idx="177">
                  <c:v>86925</c:v>
                </c:pt>
                <c:pt idx="178">
                  <c:v>87116</c:v>
                </c:pt>
                <c:pt idx="179">
                  <c:v>87258</c:v>
                </c:pt>
                <c:pt idx="180">
                  <c:v>87557</c:v>
                </c:pt>
                <c:pt idx="181">
                  <c:v>87876</c:v>
                </c:pt>
                <c:pt idx="182">
                  <c:v>88133</c:v>
                </c:pt>
                <c:pt idx="183">
                  <c:v>88423</c:v>
                </c:pt>
                <c:pt idx="184">
                  <c:v>88683</c:v>
                </c:pt>
                <c:pt idx="185">
                  <c:v>88835</c:v>
                </c:pt>
                <c:pt idx="186">
                  <c:v>88948</c:v>
                </c:pt>
                <c:pt idx="187">
                  <c:v>89221</c:v>
                </c:pt>
                <c:pt idx="188">
                  <c:v>89470</c:v>
                </c:pt>
                <c:pt idx="189">
                  <c:v>89714</c:v>
                </c:pt>
                <c:pt idx="190">
                  <c:v>89893</c:v>
                </c:pt>
                <c:pt idx="191">
                  <c:v>90131</c:v>
                </c:pt>
                <c:pt idx="192">
                  <c:v>90182</c:v>
                </c:pt>
                <c:pt idx="193">
                  <c:v>90243</c:v>
                </c:pt>
                <c:pt idx="194">
                  <c:v>90301</c:v>
                </c:pt>
                <c:pt idx="195">
                  <c:v>90361</c:v>
                </c:pt>
                <c:pt idx="196">
                  <c:v>90569</c:v>
                </c:pt>
                <c:pt idx="197">
                  <c:v>90787</c:v>
                </c:pt>
                <c:pt idx="198">
                  <c:v>91012</c:v>
                </c:pt>
                <c:pt idx="199">
                  <c:v>91105</c:v>
                </c:pt>
                <c:pt idx="200">
                  <c:v>91163</c:v>
                </c:pt>
                <c:pt idx="201">
                  <c:v>91399</c:v>
                </c:pt>
                <c:pt idx="202">
                  <c:v>91619</c:v>
                </c:pt>
                <c:pt idx="203">
                  <c:v>91860</c:v>
                </c:pt>
                <c:pt idx="204">
                  <c:v>92109</c:v>
                </c:pt>
                <c:pt idx="205">
                  <c:v>92360</c:v>
                </c:pt>
                <c:pt idx="206">
                  <c:v>92470</c:v>
                </c:pt>
                <c:pt idx="207">
                  <c:v>92539</c:v>
                </c:pt>
                <c:pt idx="208">
                  <c:v>92743</c:v>
                </c:pt>
                <c:pt idx="209">
                  <c:v>92903</c:v>
                </c:pt>
                <c:pt idx="210">
                  <c:v>93124</c:v>
                </c:pt>
                <c:pt idx="211">
                  <c:v>93303</c:v>
                </c:pt>
                <c:pt idx="212">
                  <c:v>93516</c:v>
                </c:pt>
                <c:pt idx="213">
                  <c:v>93578</c:v>
                </c:pt>
                <c:pt idx="214">
                  <c:v>93633</c:v>
                </c:pt>
                <c:pt idx="215">
                  <c:v>93815</c:v>
                </c:pt>
                <c:pt idx="216">
                  <c:v>94014</c:v>
                </c:pt>
                <c:pt idx="217">
                  <c:v>94191</c:v>
                </c:pt>
                <c:pt idx="218">
                  <c:v>94351</c:v>
                </c:pt>
                <c:pt idx="219">
                  <c:v>94563</c:v>
                </c:pt>
                <c:pt idx="220">
                  <c:v>94629</c:v>
                </c:pt>
                <c:pt idx="221">
                  <c:v>94679</c:v>
                </c:pt>
                <c:pt idx="222">
                  <c:v>94826</c:v>
                </c:pt>
                <c:pt idx="223">
                  <c:v>94956</c:v>
                </c:pt>
                <c:pt idx="224">
                  <c:v>95101</c:v>
                </c:pt>
                <c:pt idx="225">
                  <c:v>95228</c:v>
                </c:pt>
                <c:pt idx="226">
                  <c:v>95357</c:v>
                </c:pt>
                <c:pt idx="227">
                  <c:v>95395</c:v>
                </c:pt>
                <c:pt idx="228">
                  <c:v>95429</c:v>
                </c:pt>
                <c:pt idx="229">
                  <c:v>95533</c:v>
                </c:pt>
                <c:pt idx="230">
                  <c:v>95649</c:v>
                </c:pt>
                <c:pt idx="231">
                  <c:v>95722</c:v>
                </c:pt>
                <c:pt idx="232">
                  <c:v>95827</c:v>
                </c:pt>
                <c:pt idx="233">
                  <c:v>95931</c:v>
                </c:pt>
                <c:pt idx="234">
                  <c:v>95957</c:v>
                </c:pt>
                <c:pt idx="235">
                  <c:v>95976</c:v>
                </c:pt>
                <c:pt idx="236">
                  <c:v>96057</c:v>
                </c:pt>
                <c:pt idx="237">
                  <c:v>96136</c:v>
                </c:pt>
                <c:pt idx="238">
                  <c:v>96219</c:v>
                </c:pt>
                <c:pt idx="239">
                  <c:v>96291</c:v>
                </c:pt>
                <c:pt idx="240">
                  <c:v>96389</c:v>
                </c:pt>
                <c:pt idx="241">
                  <c:v>96407</c:v>
                </c:pt>
                <c:pt idx="242">
                  <c:v>96426</c:v>
                </c:pt>
                <c:pt idx="243">
                  <c:v>96520</c:v>
                </c:pt>
                <c:pt idx="244">
                  <c:v>96596</c:v>
                </c:pt>
                <c:pt idx="245">
                  <c:v>96673</c:v>
                </c:pt>
                <c:pt idx="246">
                  <c:v>96736</c:v>
                </c:pt>
                <c:pt idx="247">
                  <c:v>96839</c:v>
                </c:pt>
                <c:pt idx="248">
                  <c:v>96865</c:v>
                </c:pt>
                <c:pt idx="249">
                  <c:v>96875</c:v>
                </c:pt>
                <c:pt idx="250">
                  <c:v>96954</c:v>
                </c:pt>
                <c:pt idx="251">
                  <c:v>97033</c:v>
                </c:pt>
                <c:pt idx="252">
                  <c:v>97082</c:v>
                </c:pt>
                <c:pt idx="253">
                  <c:v>97155</c:v>
                </c:pt>
                <c:pt idx="254">
                  <c:v>97248</c:v>
                </c:pt>
                <c:pt idx="255">
                  <c:v>97263</c:v>
                </c:pt>
                <c:pt idx="256">
                  <c:v>97281</c:v>
                </c:pt>
                <c:pt idx="257">
                  <c:v>97345</c:v>
                </c:pt>
                <c:pt idx="258">
                  <c:v>97380</c:v>
                </c:pt>
                <c:pt idx="259">
                  <c:v>97433</c:v>
                </c:pt>
                <c:pt idx="260">
                  <c:v>97492</c:v>
                </c:pt>
                <c:pt idx="261">
                  <c:v>97562</c:v>
                </c:pt>
                <c:pt idx="262">
                  <c:v>97578</c:v>
                </c:pt>
                <c:pt idx="263">
                  <c:v>97591</c:v>
                </c:pt>
                <c:pt idx="264">
                  <c:v>97639</c:v>
                </c:pt>
                <c:pt idx="265">
                  <c:v>97690</c:v>
                </c:pt>
                <c:pt idx="266">
                  <c:v>97733</c:v>
                </c:pt>
                <c:pt idx="267">
                  <c:v>97779</c:v>
                </c:pt>
                <c:pt idx="268">
                  <c:v>97851</c:v>
                </c:pt>
                <c:pt idx="269">
                  <c:v>97870</c:v>
                </c:pt>
                <c:pt idx="270">
                  <c:v>97876</c:v>
                </c:pt>
                <c:pt idx="271">
                  <c:v>97920</c:v>
                </c:pt>
                <c:pt idx="272">
                  <c:v>97967</c:v>
                </c:pt>
                <c:pt idx="273">
                  <c:v>98010</c:v>
                </c:pt>
                <c:pt idx="274">
                  <c:v>98068</c:v>
                </c:pt>
                <c:pt idx="275">
                  <c:v>98137</c:v>
                </c:pt>
                <c:pt idx="276">
                  <c:v>98153</c:v>
                </c:pt>
                <c:pt idx="277">
                  <c:v>98159</c:v>
                </c:pt>
                <c:pt idx="278">
                  <c:v>98201</c:v>
                </c:pt>
                <c:pt idx="279">
                  <c:v>98207</c:v>
                </c:pt>
                <c:pt idx="280">
                  <c:v>98234</c:v>
                </c:pt>
                <c:pt idx="281">
                  <c:v>98280</c:v>
                </c:pt>
                <c:pt idx="282">
                  <c:v>98318</c:v>
                </c:pt>
                <c:pt idx="283">
                  <c:v>98326</c:v>
                </c:pt>
                <c:pt idx="284">
                  <c:v>98333</c:v>
                </c:pt>
                <c:pt idx="285">
                  <c:v>98363</c:v>
                </c:pt>
                <c:pt idx="286">
                  <c:v>98392</c:v>
                </c:pt>
                <c:pt idx="287">
                  <c:v>98430</c:v>
                </c:pt>
                <c:pt idx="288">
                  <c:v>98454</c:v>
                </c:pt>
                <c:pt idx="289">
                  <c:v>98502</c:v>
                </c:pt>
                <c:pt idx="290">
                  <c:v>98511</c:v>
                </c:pt>
                <c:pt idx="291">
                  <c:v>98518</c:v>
                </c:pt>
                <c:pt idx="292">
                  <c:v>98546</c:v>
                </c:pt>
                <c:pt idx="293">
                  <c:v>98592</c:v>
                </c:pt>
                <c:pt idx="294">
                  <c:v>98629</c:v>
                </c:pt>
                <c:pt idx="295">
                  <c:v>98657</c:v>
                </c:pt>
                <c:pt idx="296">
                  <c:v>98715</c:v>
                </c:pt>
                <c:pt idx="297">
                  <c:v>98732</c:v>
                </c:pt>
                <c:pt idx="298">
                  <c:v>98743</c:v>
                </c:pt>
                <c:pt idx="299">
                  <c:v>98801</c:v>
                </c:pt>
                <c:pt idx="300">
                  <c:v>98833</c:v>
                </c:pt>
                <c:pt idx="301">
                  <c:v>98892</c:v>
                </c:pt>
                <c:pt idx="302">
                  <c:v>98992</c:v>
                </c:pt>
                <c:pt idx="303">
                  <c:v>99136</c:v>
                </c:pt>
                <c:pt idx="304">
                  <c:v>99186</c:v>
                </c:pt>
                <c:pt idx="305">
                  <c:v>99220</c:v>
                </c:pt>
                <c:pt idx="306">
                  <c:v>99337</c:v>
                </c:pt>
                <c:pt idx="307">
                  <c:v>99494</c:v>
                </c:pt>
                <c:pt idx="308">
                  <c:v>99664</c:v>
                </c:pt>
                <c:pt idx="309">
                  <c:v>99704</c:v>
                </c:pt>
                <c:pt idx="310">
                  <c:v>99885</c:v>
                </c:pt>
                <c:pt idx="311">
                  <c:v>99935</c:v>
                </c:pt>
                <c:pt idx="312">
                  <c:v>99970</c:v>
                </c:pt>
                <c:pt idx="313">
                  <c:v>100174</c:v>
                </c:pt>
                <c:pt idx="314">
                  <c:v>100351</c:v>
                </c:pt>
                <c:pt idx="315">
                  <c:v>100543</c:v>
                </c:pt>
                <c:pt idx="316">
                  <c:v>100751</c:v>
                </c:pt>
                <c:pt idx="317">
                  <c:v>101002</c:v>
                </c:pt>
                <c:pt idx="318">
                  <c:v>101075</c:v>
                </c:pt>
                <c:pt idx="319">
                  <c:v>101118</c:v>
                </c:pt>
                <c:pt idx="320">
                  <c:v>101302</c:v>
                </c:pt>
                <c:pt idx="321">
                  <c:v>101452</c:v>
                </c:pt>
                <c:pt idx="322">
                  <c:v>101616</c:v>
                </c:pt>
                <c:pt idx="323">
                  <c:v>101804</c:v>
                </c:pt>
                <c:pt idx="324">
                  <c:v>102070</c:v>
                </c:pt>
                <c:pt idx="325">
                  <c:v>102124</c:v>
                </c:pt>
                <c:pt idx="326">
                  <c:v>102162</c:v>
                </c:pt>
                <c:pt idx="327">
                  <c:v>102345</c:v>
                </c:pt>
                <c:pt idx="328">
                  <c:v>102556</c:v>
                </c:pt>
                <c:pt idx="329">
                  <c:v>102595</c:v>
                </c:pt>
                <c:pt idx="330">
                  <c:v>102835</c:v>
                </c:pt>
                <c:pt idx="331">
                  <c:v>103114</c:v>
                </c:pt>
                <c:pt idx="332">
                  <c:v>103193</c:v>
                </c:pt>
                <c:pt idx="333">
                  <c:v>103257</c:v>
                </c:pt>
                <c:pt idx="334">
                  <c:v>103444</c:v>
                </c:pt>
                <c:pt idx="335">
                  <c:v>103637</c:v>
                </c:pt>
                <c:pt idx="336">
                  <c:v>103838</c:v>
                </c:pt>
                <c:pt idx="337">
                  <c:v>104049</c:v>
                </c:pt>
                <c:pt idx="338">
                  <c:v>104269</c:v>
                </c:pt>
                <c:pt idx="339">
                  <c:v>104347</c:v>
                </c:pt>
                <c:pt idx="340">
                  <c:v>104370</c:v>
                </c:pt>
                <c:pt idx="341">
                  <c:v>104540</c:v>
                </c:pt>
                <c:pt idx="342">
                  <c:v>104687</c:v>
                </c:pt>
                <c:pt idx="343">
                  <c:v>104848</c:v>
                </c:pt>
                <c:pt idx="344">
                  <c:v>104960</c:v>
                </c:pt>
                <c:pt idx="345">
                  <c:v>105079</c:v>
                </c:pt>
                <c:pt idx="346">
                  <c:v>105101</c:v>
                </c:pt>
                <c:pt idx="347">
                  <c:v>105108</c:v>
                </c:pt>
                <c:pt idx="348">
                  <c:v>105179</c:v>
                </c:pt>
                <c:pt idx="349">
                  <c:v>105256</c:v>
                </c:pt>
                <c:pt idx="350">
                  <c:v>105344</c:v>
                </c:pt>
                <c:pt idx="351">
                  <c:v>105418</c:v>
                </c:pt>
                <c:pt idx="352">
                  <c:v>105505</c:v>
                </c:pt>
                <c:pt idx="353">
                  <c:v>105523</c:v>
                </c:pt>
                <c:pt idx="354">
                  <c:v>105536</c:v>
                </c:pt>
                <c:pt idx="355">
                  <c:v>105612</c:v>
                </c:pt>
                <c:pt idx="356">
                  <c:v>105685</c:v>
                </c:pt>
                <c:pt idx="357">
                  <c:v>105731</c:v>
                </c:pt>
                <c:pt idx="358">
                  <c:v>105805</c:v>
                </c:pt>
                <c:pt idx="359">
                  <c:v>105895</c:v>
                </c:pt>
                <c:pt idx="360">
                  <c:v>105921</c:v>
                </c:pt>
                <c:pt idx="361">
                  <c:v>105930</c:v>
                </c:pt>
                <c:pt idx="362">
                  <c:v>105986</c:v>
                </c:pt>
                <c:pt idx="363">
                  <c:v>106044</c:v>
                </c:pt>
                <c:pt idx="364">
                  <c:v>106083</c:v>
                </c:pt>
                <c:pt idx="365">
                  <c:v>106093</c:v>
                </c:pt>
                <c:pt idx="366">
                  <c:v>106093</c:v>
                </c:pt>
                <c:pt idx="367">
                  <c:v>106121</c:v>
                </c:pt>
                <c:pt idx="368">
                  <c:v>106150</c:v>
                </c:pt>
                <c:pt idx="369">
                  <c:v>106176</c:v>
                </c:pt>
                <c:pt idx="370">
                  <c:v>106210</c:v>
                </c:pt>
                <c:pt idx="371">
                  <c:v>106213</c:v>
                </c:pt>
                <c:pt idx="372">
                  <c:v>106216</c:v>
                </c:pt>
                <c:pt idx="373">
                  <c:v>106247</c:v>
                </c:pt>
                <c:pt idx="374">
                  <c:v>106289</c:v>
                </c:pt>
                <c:pt idx="375">
                  <c:v>106323</c:v>
                </c:pt>
                <c:pt idx="376">
                  <c:v>106374</c:v>
                </c:pt>
                <c:pt idx="377">
                  <c:v>106450</c:v>
                </c:pt>
                <c:pt idx="378">
                  <c:v>106461</c:v>
                </c:pt>
                <c:pt idx="379">
                  <c:v>106473</c:v>
                </c:pt>
                <c:pt idx="380">
                  <c:v>106511</c:v>
                </c:pt>
                <c:pt idx="381">
                  <c:v>106550</c:v>
                </c:pt>
                <c:pt idx="382">
                  <c:v>106597</c:v>
                </c:pt>
                <c:pt idx="383">
                  <c:v>106646</c:v>
                </c:pt>
                <c:pt idx="384">
                  <c:v>106706</c:v>
                </c:pt>
                <c:pt idx="385">
                  <c:v>106726</c:v>
                </c:pt>
                <c:pt idx="386">
                  <c:v>106736</c:v>
                </c:pt>
                <c:pt idx="387">
                  <c:v>106775</c:v>
                </c:pt>
                <c:pt idx="388">
                  <c:v>106823</c:v>
                </c:pt>
                <c:pt idx="389">
                  <c:v>106850</c:v>
                </c:pt>
                <c:pt idx="390">
                  <c:v>106875</c:v>
                </c:pt>
                <c:pt idx="391">
                  <c:v>106925</c:v>
                </c:pt>
                <c:pt idx="392">
                  <c:v>106929</c:v>
                </c:pt>
                <c:pt idx="393">
                  <c:v>106934</c:v>
                </c:pt>
                <c:pt idx="394">
                  <c:v>106955</c:v>
                </c:pt>
                <c:pt idx="395">
                  <c:v>106975</c:v>
                </c:pt>
                <c:pt idx="396">
                  <c:v>106997</c:v>
                </c:pt>
                <c:pt idx="397">
                  <c:v>107014</c:v>
                </c:pt>
                <c:pt idx="398">
                  <c:v>107040</c:v>
                </c:pt>
                <c:pt idx="399">
                  <c:v>107046</c:v>
                </c:pt>
                <c:pt idx="400">
                  <c:v>107048</c:v>
                </c:pt>
                <c:pt idx="401">
                  <c:v>107055</c:v>
                </c:pt>
                <c:pt idx="402">
                  <c:v>107065</c:v>
                </c:pt>
                <c:pt idx="403">
                  <c:v>107076</c:v>
                </c:pt>
                <c:pt idx="404">
                  <c:v>107084</c:v>
                </c:pt>
                <c:pt idx="405">
                  <c:v>107096</c:v>
                </c:pt>
                <c:pt idx="406">
                  <c:v>107097</c:v>
                </c:pt>
                <c:pt idx="407">
                  <c:v>107098</c:v>
                </c:pt>
                <c:pt idx="408">
                  <c:v>107105</c:v>
                </c:pt>
                <c:pt idx="409">
                  <c:v>107112</c:v>
                </c:pt>
                <c:pt idx="410">
                  <c:v>107117</c:v>
                </c:pt>
                <c:pt idx="411">
                  <c:v>107122</c:v>
                </c:pt>
                <c:pt idx="412">
                  <c:v>107136</c:v>
                </c:pt>
                <c:pt idx="413">
                  <c:v>107137</c:v>
                </c:pt>
                <c:pt idx="414">
                  <c:v>107139</c:v>
                </c:pt>
                <c:pt idx="415">
                  <c:v>107145</c:v>
                </c:pt>
                <c:pt idx="416">
                  <c:v>107150</c:v>
                </c:pt>
                <c:pt idx="417">
                  <c:v>107151</c:v>
                </c:pt>
                <c:pt idx="418">
                  <c:v>107152</c:v>
                </c:pt>
                <c:pt idx="419">
                  <c:v>107154</c:v>
                </c:pt>
                <c:pt idx="420">
                  <c:v>107157</c:v>
                </c:pt>
                <c:pt idx="421">
                  <c:v>107159</c:v>
                </c:pt>
                <c:pt idx="422">
                  <c:v>107159</c:v>
                </c:pt>
                <c:pt idx="423">
                  <c:v>107159</c:v>
                </c:pt>
                <c:pt idx="424">
                  <c:v>107162</c:v>
                </c:pt>
                <c:pt idx="425">
                  <c:v>107163</c:v>
                </c:pt>
                <c:pt idx="426">
                  <c:v>107166</c:v>
                </c:pt>
                <c:pt idx="427">
                  <c:v>107167</c:v>
                </c:pt>
                <c:pt idx="428">
                  <c:v>107167</c:v>
                </c:pt>
                <c:pt idx="429">
                  <c:v>107180</c:v>
                </c:pt>
                <c:pt idx="430">
                  <c:v>107181</c:v>
                </c:pt>
                <c:pt idx="431">
                  <c:v>107183</c:v>
                </c:pt>
                <c:pt idx="432">
                  <c:v>107186</c:v>
                </c:pt>
                <c:pt idx="433">
                  <c:v>107191</c:v>
                </c:pt>
                <c:pt idx="434">
                  <c:v>107199</c:v>
                </c:pt>
                <c:pt idx="435">
                  <c:v>107214</c:v>
                </c:pt>
                <c:pt idx="436">
                  <c:v>107216</c:v>
                </c:pt>
                <c:pt idx="437">
                  <c:v>107219</c:v>
                </c:pt>
                <c:pt idx="438">
                  <c:v>107219</c:v>
                </c:pt>
                <c:pt idx="439">
                  <c:v>107221</c:v>
                </c:pt>
                <c:pt idx="440">
                  <c:v>107223</c:v>
                </c:pt>
                <c:pt idx="441">
                  <c:v>1072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E$1:$QD$1</c:f>
              <c:strCache>
                <c:ptCount val="442"/>
                <c:pt idx="0">
                  <c:v>23-XII.20</c:v>
                </c:pt>
                <c:pt idx="1">
                  <c:v>24-XII.20</c:v>
                </c:pt>
                <c:pt idx="2">
                  <c:v>25-XII.20</c:v>
                </c:pt>
                <c:pt idx="3">
                  <c:v>26-XII.20</c:v>
                </c:pt>
                <c:pt idx="4">
                  <c:v>27.XII.20</c:v>
                </c:pt>
                <c:pt idx="5">
                  <c:v>28.XII.20</c:v>
                </c:pt>
                <c:pt idx="6">
                  <c:v>29.XII.20</c:v>
                </c:pt>
                <c:pt idx="7">
                  <c:v>30.XII.20</c:v>
                </c:pt>
                <c:pt idx="8">
                  <c:v>31.XII.20</c:v>
                </c:pt>
                <c:pt idx="9">
                  <c:v>1.I.21</c:v>
                </c:pt>
                <c:pt idx="10">
                  <c:v>2.I.21</c:v>
                </c:pt>
                <c:pt idx="11">
                  <c:v>3.I.21</c:v>
                </c:pt>
                <c:pt idx="12">
                  <c:v>4.I.21</c:v>
                </c:pt>
                <c:pt idx="13">
                  <c:v>5.I.21</c:v>
                </c:pt>
                <c:pt idx="14">
                  <c:v>6.I.21</c:v>
                </c:pt>
                <c:pt idx="15">
                  <c:v>7.I.21</c:v>
                </c:pt>
                <c:pt idx="16">
                  <c:v>8.I.21</c:v>
                </c:pt>
                <c:pt idx="17">
                  <c:v>9.I.21</c:v>
                </c:pt>
                <c:pt idx="18">
                  <c:v>10.I.21</c:v>
                </c:pt>
                <c:pt idx="19">
                  <c:v>11.I.21</c:v>
                </c:pt>
                <c:pt idx="20">
                  <c:v>12.I.21</c:v>
                </c:pt>
                <c:pt idx="21">
                  <c:v>13.I.21</c:v>
                </c:pt>
                <c:pt idx="22">
                  <c:v>14.I.21</c:v>
                </c:pt>
                <c:pt idx="23">
                  <c:v>15.I.21</c:v>
                </c:pt>
                <c:pt idx="24">
                  <c:v>16.I.21</c:v>
                </c:pt>
                <c:pt idx="25">
                  <c:v>17.I.21</c:v>
                </c:pt>
                <c:pt idx="26">
                  <c:v>18.I.21</c:v>
                </c:pt>
                <c:pt idx="27">
                  <c:v>19.I.21</c:v>
                </c:pt>
                <c:pt idx="28">
                  <c:v>20.I.21</c:v>
                </c:pt>
                <c:pt idx="29">
                  <c:v>21.I.21</c:v>
                </c:pt>
                <c:pt idx="30">
                  <c:v>22.I.21</c:v>
                </c:pt>
                <c:pt idx="31">
                  <c:v>23.I.21</c:v>
                </c:pt>
                <c:pt idx="32">
                  <c:v>24.I.21</c:v>
                </c:pt>
                <c:pt idx="33">
                  <c:v>25.I.21</c:v>
                </c:pt>
                <c:pt idx="34">
                  <c:v>26.I.21</c:v>
                </c:pt>
                <c:pt idx="35">
                  <c:v>27.I.21</c:v>
                </c:pt>
                <c:pt idx="36">
                  <c:v>28.I.21</c:v>
                </c:pt>
                <c:pt idx="37">
                  <c:v>29.I.21</c:v>
                </c:pt>
                <c:pt idx="38">
                  <c:v>30.I.21</c:v>
                </c:pt>
                <c:pt idx="39">
                  <c:v>31.I.21</c:v>
                </c:pt>
                <c:pt idx="40">
                  <c:v>1.II.21</c:v>
                </c:pt>
                <c:pt idx="41">
                  <c:v>2.II.21</c:v>
                </c:pt>
                <c:pt idx="42">
                  <c:v>3.II.21</c:v>
                </c:pt>
                <c:pt idx="43">
                  <c:v>4.II.21</c:v>
                </c:pt>
                <c:pt idx="44">
                  <c:v>5.II.21</c:v>
                </c:pt>
                <c:pt idx="45">
                  <c:v>6.II.21</c:v>
                </c:pt>
                <c:pt idx="46">
                  <c:v>7.II.21</c:v>
                </c:pt>
                <c:pt idx="47">
                  <c:v>8.II.21</c:v>
                </c:pt>
                <c:pt idx="48">
                  <c:v>9.II.21</c:v>
                </c:pt>
                <c:pt idx="49">
                  <c:v>10.II.21</c:v>
                </c:pt>
                <c:pt idx="50">
                  <c:v>11.II.21</c:v>
                </c:pt>
                <c:pt idx="51">
                  <c:v>12.II.21</c:v>
                </c:pt>
                <c:pt idx="52">
                  <c:v>13.II.21</c:v>
                </c:pt>
                <c:pt idx="53">
                  <c:v>14.II.21</c:v>
                </c:pt>
                <c:pt idx="54">
                  <c:v>15.II.21</c:v>
                </c:pt>
                <c:pt idx="55">
                  <c:v>16.II.21</c:v>
                </c:pt>
                <c:pt idx="56">
                  <c:v>17.II.21</c:v>
                </c:pt>
                <c:pt idx="57">
                  <c:v>18.II.21</c:v>
                </c:pt>
                <c:pt idx="58">
                  <c:v>19.II.21</c:v>
                </c:pt>
                <c:pt idx="59">
                  <c:v>20.II.21</c:v>
                </c:pt>
                <c:pt idx="60">
                  <c:v>21.II.21</c:v>
                </c:pt>
                <c:pt idx="61">
                  <c:v>22.II.21</c:v>
                </c:pt>
                <c:pt idx="62">
                  <c:v>23.II.21</c:v>
                </c:pt>
                <c:pt idx="63">
                  <c:v>24.II.21</c:v>
                </c:pt>
                <c:pt idx="64">
                  <c:v>25.II.21</c:v>
                </c:pt>
                <c:pt idx="65">
                  <c:v>26.II.21</c:v>
                </c:pt>
                <c:pt idx="66">
                  <c:v>27.II.21</c:v>
                </c:pt>
                <c:pt idx="67">
                  <c:v>28.II.21</c:v>
                </c:pt>
                <c:pt idx="68">
                  <c:v>1.III.21</c:v>
                </c:pt>
                <c:pt idx="69">
                  <c:v>2.III.21</c:v>
                </c:pt>
                <c:pt idx="70">
                  <c:v>3.III.21</c:v>
                </c:pt>
                <c:pt idx="71">
                  <c:v>4.III.21</c:v>
                </c:pt>
                <c:pt idx="72">
                  <c:v>5.III.21</c:v>
                </c:pt>
                <c:pt idx="73">
                  <c:v>6.III.21</c:v>
                </c:pt>
                <c:pt idx="74">
                  <c:v>7.III.21</c:v>
                </c:pt>
                <c:pt idx="75">
                  <c:v>8.III.21</c:v>
                </c:pt>
                <c:pt idx="76">
                  <c:v>9.III.21</c:v>
                </c:pt>
                <c:pt idx="77">
                  <c:v>10.III.21</c:v>
                </c:pt>
                <c:pt idx="78">
                  <c:v>11.III.21</c:v>
                </c:pt>
                <c:pt idx="79">
                  <c:v>12.III.21</c:v>
                </c:pt>
                <c:pt idx="80">
                  <c:v>13.III.21</c:v>
                </c:pt>
                <c:pt idx="81">
                  <c:v>14.III.21</c:v>
                </c:pt>
                <c:pt idx="82">
                  <c:v>15.III.21</c:v>
                </c:pt>
                <c:pt idx="83">
                  <c:v>16.III.21</c:v>
                </c:pt>
                <c:pt idx="84">
                  <c:v>17.III.21</c:v>
                </c:pt>
                <c:pt idx="85">
                  <c:v>18.III.21</c:v>
                </c:pt>
                <c:pt idx="86">
                  <c:v>19.III.21</c:v>
                </c:pt>
                <c:pt idx="87">
                  <c:v>20.III.21</c:v>
                </c:pt>
                <c:pt idx="88">
                  <c:v>21.III.21</c:v>
                </c:pt>
                <c:pt idx="89">
                  <c:v>22.III.21</c:v>
                </c:pt>
                <c:pt idx="90">
                  <c:v>23.III.21</c:v>
                </c:pt>
                <c:pt idx="91">
                  <c:v>24.III.21</c:v>
                </c:pt>
                <c:pt idx="92">
                  <c:v>25.III.21</c:v>
                </c:pt>
                <c:pt idx="93">
                  <c:v>26.III.21</c:v>
                </c:pt>
                <c:pt idx="94">
                  <c:v>27.III.21</c:v>
                </c:pt>
                <c:pt idx="95">
                  <c:v>28.III.21</c:v>
                </c:pt>
                <c:pt idx="96">
                  <c:v>29.III.21</c:v>
                </c:pt>
                <c:pt idx="97">
                  <c:v>30.III.21</c:v>
                </c:pt>
                <c:pt idx="98">
                  <c:v>31.III.21</c:v>
                </c:pt>
                <c:pt idx="99">
                  <c:v>1.IV.21</c:v>
                </c:pt>
                <c:pt idx="100">
                  <c:v>2.IV.21</c:v>
                </c:pt>
                <c:pt idx="101">
                  <c:v>3.IV.21</c:v>
                </c:pt>
                <c:pt idx="102">
                  <c:v>4.IV.21</c:v>
                </c:pt>
                <c:pt idx="103">
                  <c:v>5.IV.21</c:v>
                </c:pt>
                <c:pt idx="104">
                  <c:v>6.IV.21</c:v>
                </c:pt>
                <c:pt idx="105">
                  <c:v>7.IV.21</c:v>
                </c:pt>
                <c:pt idx="106">
                  <c:v>8.IV.21</c:v>
                </c:pt>
                <c:pt idx="107">
                  <c:v>9.IV.21</c:v>
                </c:pt>
                <c:pt idx="108">
                  <c:v>10.IV.21</c:v>
                </c:pt>
                <c:pt idx="109">
                  <c:v>11.IV.21</c:v>
                </c:pt>
                <c:pt idx="110">
                  <c:v>12.IV.21</c:v>
                </c:pt>
                <c:pt idx="111">
                  <c:v>13.IV.21</c:v>
                </c:pt>
                <c:pt idx="112">
                  <c:v>14.IV.21</c:v>
                </c:pt>
                <c:pt idx="113">
                  <c:v>15.IV.21</c:v>
                </c:pt>
                <c:pt idx="114">
                  <c:v>16.IV.21</c:v>
                </c:pt>
                <c:pt idx="115">
                  <c:v>17.IV.21</c:v>
                </c:pt>
                <c:pt idx="116">
                  <c:v>18.IV.21</c:v>
                </c:pt>
                <c:pt idx="117">
                  <c:v>19.IV.21</c:v>
                </c:pt>
                <c:pt idx="118">
                  <c:v>20.IV.21</c:v>
                </c:pt>
                <c:pt idx="119">
                  <c:v>21.IV.21</c:v>
                </c:pt>
                <c:pt idx="120">
                  <c:v>22.IV.21</c:v>
                </c:pt>
                <c:pt idx="121">
                  <c:v>23.IV.21</c:v>
                </c:pt>
                <c:pt idx="122">
                  <c:v>24.IV.21</c:v>
                </c:pt>
                <c:pt idx="123">
                  <c:v>25.IV.21</c:v>
                </c:pt>
                <c:pt idx="124">
                  <c:v>26.IV.21</c:v>
                </c:pt>
                <c:pt idx="125">
                  <c:v>27.IV.21</c:v>
                </c:pt>
                <c:pt idx="126">
                  <c:v>28.IV.21</c:v>
                </c:pt>
                <c:pt idx="127">
                  <c:v>29.IV.21</c:v>
                </c:pt>
                <c:pt idx="128">
                  <c:v>30.IV.21</c:v>
                </c:pt>
                <c:pt idx="129">
                  <c:v>1.V.21</c:v>
                </c:pt>
                <c:pt idx="130">
                  <c:v>2.V.21</c:v>
                </c:pt>
                <c:pt idx="131">
                  <c:v>3.V.21</c:v>
                </c:pt>
                <c:pt idx="132">
                  <c:v>4.V.21</c:v>
                </c:pt>
                <c:pt idx="133">
                  <c:v>5.V.21</c:v>
                </c:pt>
                <c:pt idx="134">
                  <c:v>6.V.21</c:v>
                </c:pt>
                <c:pt idx="135">
                  <c:v>7.V.21</c:v>
                </c:pt>
                <c:pt idx="136">
                  <c:v>8.V.21</c:v>
                </c:pt>
                <c:pt idx="137">
                  <c:v>9.V.21</c:v>
                </c:pt>
                <c:pt idx="138">
                  <c:v>10.V.21</c:v>
                </c:pt>
                <c:pt idx="139">
                  <c:v>11.V.21</c:v>
                </c:pt>
                <c:pt idx="140">
                  <c:v>12.V.21</c:v>
                </c:pt>
                <c:pt idx="141">
                  <c:v>13.V.21</c:v>
                </c:pt>
                <c:pt idx="142">
                  <c:v>14.V.21</c:v>
                </c:pt>
                <c:pt idx="143">
                  <c:v>15.V.21</c:v>
                </c:pt>
                <c:pt idx="144">
                  <c:v>16.V.21</c:v>
                </c:pt>
                <c:pt idx="145">
                  <c:v>17.V.21</c:v>
                </c:pt>
                <c:pt idx="146">
                  <c:v>18.V.21</c:v>
                </c:pt>
                <c:pt idx="147">
                  <c:v>19.V.21</c:v>
                </c:pt>
                <c:pt idx="148">
                  <c:v>20.V.21</c:v>
                </c:pt>
                <c:pt idx="149">
                  <c:v>21.V.21</c:v>
                </c:pt>
                <c:pt idx="150">
                  <c:v>22.V.21</c:v>
                </c:pt>
                <c:pt idx="151">
                  <c:v>23.V.21</c:v>
                </c:pt>
                <c:pt idx="152">
                  <c:v>24.V.21</c:v>
                </c:pt>
                <c:pt idx="153">
                  <c:v>25.V.21</c:v>
                </c:pt>
                <c:pt idx="154">
                  <c:v>26.V.21</c:v>
                </c:pt>
                <c:pt idx="155">
                  <c:v>27.V.21</c:v>
                </c:pt>
                <c:pt idx="156">
                  <c:v>28.V.21</c:v>
                </c:pt>
                <c:pt idx="157">
                  <c:v>29.V.21</c:v>
                </c:pt>
                <c:pt idx="158">
                  <c:v>30.V.21</c:v>
                </c:pt>
                <c:pt idx="159">
                  <c:v>31.V.21</c:v>
                </c:pt>
                <c:pt idx="160">
                  <c:v>1.VI.21</c:v>
                </c:pt>
                <c:pt idx="161">
                  <c:v>2.VI.21</c:v>
                </c:pt>
                <c:pt idx="162">
                  <c:v>3.VI.21</c:v>
                </c:pt>
                <c:pt idx="163">
                  <c:v>4.VI.21</c:v>
                </c:pt>
                <c:pt idx="164">
                  <c:v>5.VI.21</c:v>
                </c:pt>
                <c:pt idx="165">
                  <c:v>6.VI.21</c:v>
                </c:pt>
                <c:pt idx="166">
                  <c:v>7.VI.21</c:v>
                </c:pt>
                <c:pt idx="167">
                  <c:v>8.VI.21</c:v>
                </c:pt>
                <c:pt idx="168">
                  <c:v>9.VI.21</c:v>
                </c:pt>
                <c:pt idx="169">
                  <c:v>10.VI.21</c:v>
                </c:pt>
                <c:pt idx="170">
                  <c:v>11.VI.21</c:v>
                </c:pt>
                <c:pt idx="171">
                  <c:v>12.VI.21</c:v>
                </c:pt>
                <c:pt idx="172">
                  <c:v>13.VI.21</c:v>
                </c:pt>
                <c:pt idx="173">
                  <c:v>14.VI.21</c:v>
                </c:pt>
                <c:pt idx="174">
                  <c:v>15.VI.21</c:v>
                </c:pt>
                <c:pt idx="175">
                  <c:v>16.VI.21</c:v>
                </c:pt>
                <c:pt idx="176">
                  <c:v>17.VI.21</c:v>
                </c:pt>
                <c:pt idx="177">
                  <c:v>18.VI.21</c:v>
                </c:pt>
                <c:pt idx="178">
                  <c:v>19.VI.21</c:v>
                </c:pt>
                <c:pt idx="179">
                  <c:v>20.VI.21</c:v>
                </c:pt>
                <c:pt idx="180">
                  <c:v>21.VI.21</c:v>
                </c:pt>
                <c:pt idx="181">
                  <c:v>22.VI.21</c:v>
                </c:pt>
                <c:pt idx="182">
                  <c:v>23.VI.21</c:v>
                </c:pt>
                <c:pt idx="183">
                  <c:v>24.VI.21</c:v>
                </c:pt>
                <c:pt idx="184">
                  <c:v>25.VI.21</c:v>
                </c:pt>
                <c:pt idx="185">
                  <c:v>26.VI.21</c:v>
                </c:pt>
                <c:pt idx="186">
                  <c:v>27.VI.21</c:v>
                </c:pt>
                <c:pt idx="187">
                  <c:v>28.VI.21</c:v>
                </c:pt>
                <c:pt idx="188">
                  <c:v>29.VI.21</c:v>
                </c:pt>
                <c:pt idx="189">
                  <c:v>30.VI.21</c:v>
                </c:pt>
                <c:pt idx="190">
                  <c:v>1.VII.21</c:v>
                </c:pt>
                <c:pt idx="191">
                  <c:v>2.VII.21</c:v>
                </c:pt>
                <c:pt idx="192">
                  <c:v>3.VII.21</c:v>
                </c:pt>
                <c:pt idx="193">
                  <c:v>4.VII.21</c:v>
                </c:pt>
                <c:pt idx="194">
                  <c:v>5.VII.21</c:v>
                </c:pt>
                <c:pt idx="195">
                  <c:v>6.VII.21</c:v>
                </c:pt>
                <c:pt idx="196">
                  <c:v>7.VII.21</c:v>
                </c:pt>
                <c:pt idx="197">
                  <c:v>8.VII.21</c:v>
                </c:pt>
                <c:pt idx="198">
                  <c:v>9.VII.21</c:v>
                </c:pt>
                <c:pt idx="199">
                  <c:v>10.VII.21</c:v>
                </c:pt>
                <c:pt idx="200">
                  <c:v>11.VII.21</c:v>
                </c:pt>
                <c:pt idx="201">
                  <c:v>12.VII.21</c:v>
                </c:pt>
                <c:pt idx="202">
                  <c:v>13.VII.21</c:v>
                </c:pt>
                <c:pt idx="203">
                  <c:v>14.VII.21</c:v>
                </c:pt>
                <c:pt idx="204">
                  <c:v>15.VII.21</c:v>
                </c:pt>
                <c:pt idx="205">
                  <c:v>16.VII.21</c:v>
                </c:pt>
                <c:pt idx="206">
                  <c:v>17.VII.21</c:v>
                </c:pt>
                <c:pt idx="207">
                  <c:v>18.VII.21</c:v>
                </c:pt>
                <c:pt idx="208">
                  <c:v>19.VII.21</c:v>
                </c:pt>
                <c:pt idx="209">
                  <c:v>20.VII.21</c:v>
                </c:pt>
                <c:pt idx="210">
                  <c:v>21.VII.21</c:v>
                </c:pt>
                <c:pt idx="211">
                  <c:v>22.VII.21</c:v>
                </c:pt>
                <c:pt idx="212">
                  <c:v>23.VII.21</c:v>
                </c:pt>
                <c:pt idx="213">
                  <c:v>24.VII.21</c:v>
                </c:pt>
                <c:pt idx="214">
                  <c:v>25.VII.21</c:v>
                </c:pt>
                <c:pt idx="215">
                  <c:v>26.VII.21</c:v>
                </c:pt>
                <c:pt idx="216">
                  <c:v>27.VII.21</c:v>
                </c:pt>
                <c:pt idx="217">
                  <c:v>28.VII.21</c:v>
                </c:pt>
                <c:pt idx="218">
                  <c:v>29.VII.21</c:v>
                </c:pt>
                <c:pt idx="219">
                  <c:v>30.VII.21</c:v>
                </c:pt>
                <c:pt idx="220">
                  <c:v>31.VII.21</c:v>
                </c:pt>
                <c:pt idx="221">
                  <c:v>1.VIII.21</c:v>
                </c:pt>
                <c:pt idx="222">
                  <c:v>2.VIII.21</c:v>
                </c:pt>
                <c:pt idx="223">
                  <c:v>3.VIII.21</c:v>
                </c:pt>
                <c:pt idx="224">
                  <c:v>4.VIII.21</c:v>
                </c:pt>
                <c:pt idx="225">
                  <c:v>5.VIII.21</c:v>
                </c:pt>
                <c:pt idx="226">
                  <c:v>6.VIII.21</c:v>
                </c:pt>
                <c:pt idx="227">
                  <c:v>7.VIII.21</c:v>
                </c:pt>
                <c:pt idx="228">
                  <c:v>8.VIII.21</c:v>
                </c:pt>
                <c:pt idx="229">
                  <c:v>9.VIII.21</c:v>
                </c:pt>
                <c:pt idx="230">
                  <c:v>10.VIII.21</c:v>
                </c:pt>
                <c:pt idx="231">
                  <c:v>11.VIII.21</c:v>
                </c:pt>
                <c:pt idx="232">
                  <c:v>12.VIII.21</c:v>
                </c:pt>
                <c:pt idx="233">
                  <c:v>13.VIII.21</c:v>
                </c:pt>
                <c:pt idx="234">
                  <c:v>14.VIII.21</c:v>
                </c:pt>
                <c:pt idx="235">
                  <c:v>15.VIII.21</c:v>
                </c:pt>
                <c:pt idx="236">
                  <c:v>16.VIII.21</c:v>
                </c:pt>
                <c:pt idx="237">
                  <c:v>17.VIII.21</c:v>
                </c:pt>
                <c:pt idx="238">
                  <c:v>18.VIII.21</c:v>
                </c:pt>
                <c:pt idx="239">
                  <c:v>19.VIII.21</c:v>
                </c:pt>
                <c:pt idx="240">
                  <c:v>20.VIII.21</c:v>
                </c:pt>
                <c:pt idx="241">
                  <c:v>21.VIII.21</c:v>
                </c:pt>
                <c:pt idx="242">
                  <c:v>22.VIII.21</c:v>
                </c:pt>
                <c:pt idx="243">
                  <c:v>23.VIII.21</c:v>
                </c:pt>
                <c:pt idx="244">
                  <c:v>24.VIII.21</c:v>
                </c:pt>
                <c:pt idx="245">
                  <c:v>25.VIII.21</c:v>
                </c:pt>
                <c:pt idx="246">
                  <c:v>26.VIII.21</c:v>
                </c:pt>
                <c:pt idx="247">
                  <c:v>27.VIII.21</c:v>
                </c:pt>
                <c:pt idx="248">
                  <c:v>28.VIII.21</c:v>
                </c:pt>
                <c:pt idx="249">
                  <c:v>29.VIII.21</c:v>
                </c:pt>
                <c:pt idx="250">
                  <c:v>30.VIII.21</c:v>
                </c:pt>
                <c:pt idx="251">
                  <c:v>31.VIII.21</c:v>
                </c:pt>
                <c:pt idx="252">
                  <c:v>1.IX.21</c:v>
                </c:pt>
                <c:pt idx="253">
                  <c:v>2.IX.21</c:v>
                </c:pt>
                <c:pt idx="254">
                  <c:v>3.IX.21</c:v>
                </c:pt>
                <c:pt idx="255">
                  <c:v>4.IX.21</c:v>
                </c:pt>
                <c:pt idx="256">
                  <c:v>5.IX.21</c:v>
                </c:pt>
                <c:pt idx="257">
                  <c:v>6.IX.21</c:v>
                </c:pt>
                <c:pt idx="258">
                  <c:v>7.IX.21</c:v>
                </c:pt>
                <c:pt idx="259">
                  <c:v>8.IX.21</c:v>
                </c:pt>
                <c:pt idx="260">
                  <c:v>9.IX.21</c:v>
                </c:pt>
                <c:pt idx="261">
                  <c:v>10.IX.21</c:v>
                </c:pt>
                <c:pt idx="262">
                  <c:v>11.IX.21</c:v>
                </c:pt>
                <c:pt idx="263">
                  <c:v>12.IX.21</c:v>
                </c:pt>
                <c:pt idx="264">
                  <c:v>13.IX.21</c:v>
                </c:pt>
                <c:pt idx="265">
                  <c:v>14.IX.21</c:v>
                </c:pt>
                <c:pt idx="266">
                  <c:v>15.IX.21</c:v>
                </c:pt>
                <c:pt idx="267">
                  <c:v>16.IX.21</c:v>
                </c:pt>
                <c:pt idx="268">
                  <c:v>17.IX.21</c:v>
                </c:pt>
                <c:pt idx="269">
                  <c:v>18.IX.21</c:v>
                </c:pt>
                <c:pt idx="270">
                  <c:v>19.IX.21</c:v>
                </c:pt>
                <c:pt idx="271">
                  <c:v>20.IX.21</c:v>
                </c:pt>
                <c:pt idx="272">
                  <c:v>21.IX.21</c:v>
                </c:pt>
                <c:pt idx="273">
                  <c:v>22.IX.21</c:v>
                </c:pt>
                <c:pt idx="274">
                  <c:v>23.IX.21</c:v>
                </c:pt>
                <c:pt idx="275">
                  <c:v>24.IX.21</c:v>
                </c:pt>
                <c:pt idx="276">
                  <c:v>25.IX.21</c:v>
                </c:pt>
                <c:pt idx="277">
                  <c:v>26.IX.21</c:v>
                </c:pt>
                <c:pt idx="278">
                  <c:v>27.IX.21</c:v>
                </c:pt>
                <c:pt idx="279">
                  <c:v>28.IX.21</c:v>
                </c:pt>
                <c:pt idx="280">
                  <c:v>29.IX.21</c:v>
                </c:pt>
                <c:pt idx="281">
                  <c:v>30.IX.21</c:v>
                </c:pt>
                <c:pt idx="282">
                  <c:v>1.X.21</c:v>
                </c:pt>
                <c:pt idx="283">
                  <c:v>2.X.21</c:v>
                </c:pt>
                <c:pt idx="284">
                  <c:v>3.X.21</c:v>
                </c:pt>
                <c:pt idx="285">
                  <c:v>4.X.21</c:v>
                </c:pt>
                <c:pt idx="286">
                  <c:v>5.X.21</c:v>
                </c:pt>
                <c:pt idx="287">
                  <c:v>6.X.21</c:v>
                </c:pt>
                <c:pt idx="288">
                  <c:v>7.X.21</c:v>
                </c:pt>
                <c:pt idx="289">
                  <c:v>8.X.21</c:v>
                </c:pt>
                <c:pt idx="290">
                  <c:v>9.X.21</c:v>
                </c:pt>
                <c:pt idx="291">
                  <c:v>10.X.21</c:v>
                </c:pt>
                <c:pt idx="292">
                  <c:v>11.X.21</c:v>
                </c:pt>
                <c:pt idx="293">
                  <c:v>12.X.21</c:v>
                </c:pt>
                <c:pt idx="294">
                  <c:v>13.X.21</c:v>
                </c:pt>
                <c:pt idx="295">
                  <c:v>14.X.21</c:v>
                </c:pt>
                <c:pt idx="296">
                  <c:v>15.X.21</c:v>
                </c:pt>
                <c:pt idx="297">
                  <c:v>16.X.21</c:v>
                </c:pt>
                <c:pt idx="298">
                  <c:v>17.X.21</c:v>
                </c:pt>
                <c:pt idx="299">
                  <c:v>18.X.21</c:v>
                </c:pt>
                <c:pt idx="300">
                  <c:v>19.X.21</c:v>
                </c:pt>
                <c:pt idx="301">
                  <c:v>20.X.21</c:v>
                </c:pt>
                <c:pt idx="302">
                  <c:v>21.X.21</c:v>
                </c:pt>
                <c:pt idx="303">
                  <c:v>22.X.21</c:v>
                </c:pt>
                <c:pt idx="304">
                  <c:v>23.X.21</c:v>
                </c:pt>
                <c:pt idx="305">
                  <c:v>24.X.21</c:v>
                </c:pt>
                <c:pt idx="306">
                  <c:v>25.X.21</c:v>
                </c:pt>
                <c:pt idx="307">
                  <c:v>26.X.21</c:v>
                </c:pt>
                <c:pt idx="308">
                  <c:v>27.X.21</c:v>
                </c:pt>
                <c:pt idx="309">
                  <c:v>28.X.21</c:v>
                </c:pt>
                <c:pt idx="310">
                  <c:v>29.X.21</c:v>
                </c:pt>
                <c:pt idx="311">
                  <c:v>30.X.21</c:v>
                </c:pt>
                <c:pt idx="312">
                  <c:v>31.X.21</c:v>
                </c:pt>
                <c:pt idx="313">
                  <c:v>1.XI.21</c:v>
                </c:pt>
                <c:pt idx="314">
                  <c:v>2.XI.21</c:v>
                </c:pt>
                <c:pt idx="315">
                  <c:v>3.XI.21</c:v>
                </c:pt>
                <c:pt idx="316">
                  <c:v>4.XI.21</c:v>
                </c:pt>
                <c:pt idx="317">
                  <c:v>5.XI.21</c:v>
                </c:pt>
                <c:pt idx="318">
                  <c:v>6.XI.21</c:v>
                </c:pt>
                <c:pt idx="319">
                  <c:v>7.XI.21</c:v>
                </c:pt>
                <c:pt idx="320">
                  <c:v>8.XI.21</c:v>
                </c:pt>
                <c:pt idx="321">
                  <c:v>9.XI.21</c:v>
                </c:pt>
                <c:pt idx="322">
                  <c:v>10.XI.21</c:v>
                </c:pt>
                <c:pt idx="323">
                  <c:v>11.XI.21</c:v>
                </c:pt>
                <c:pt idx="324">
                  <c:v>12.XI.21</c:v>
                </c:pt>
                <c:pt idx="325">
                  <c:v>13.XI.21</c:v>
                </c:pt>
                <c:pt idx="326">
                  <c:v>14.XI.21</c:v>
                </c:pt>
                <c:pt idx="327">
                  <c:v>15.XI.21</c:v>
                </c:pt>
                <c:pt idx="328">
                  <c:v>16.XI.21</c:v>
                </c:pt>
                <c:pt idx="329">
                  <c:v>17.XI.21</c:v>
                </c:pt>
                <c:pt idx="330">
                  <c:v>18.XI.21</c:v>
                </c:pt>
                <c:pt idx="331">
                  <c:v>19.XI.21</c:v>
                </c:pt>
                <c:pt idx="332">
                  <c:v>20.XI.21</c:v>
                </c:pt>
                <c:pt idx="333">
                  <c:v>21.XI.21</c:v>
                </c:pt>
                <c:pt idx="334">
                  <c:v>22.XI.21</c:v>
                </c:pt>
                <c:pt idx="335">
                  <c:v>23.XI.21</c:v>
                </c:pt>
                <c:pt idx="336">
                  <c:v>24.XI.21</c:v>
                </c:pt>
                <c:pt idx="337">
                  <c:v>25.XI.21</c:v>
                </c:pt>
                <c:pt idx="338">
                  <c:v>26.XI.21</c:v>
                </c:pt>
                <c:pt idx="339">
                  <c:v>27.XI.21</c:v>
                </c:pt>
                <c:pt idx="340">
                  <c:v>28.XI.21</c:v>
                </c:pt>
                <c:pt idx="341">
                  <c:v>29.XI.21</c:v>
                </c:pt>
                <c:pt idx="342">
                  <c:v>30.XI.21</c:v>
                </c:pt>
                <c:pt idx="343">
                  <c:v>1.XII.21</c:v>
                </c:pt>
                <c:pt idx="344">
                  <c:v>2.XII.21</c:v>
                </c:pt>
                <c:pt idx="345">
                  <c:v>3.XII.21</c:v>
                </c:pt>
                <c:pt idx="346">
                  <c:v>4.XII.21</c:v>
                </c:pt>
                <c:pt idx="347">
                  <c:v>5.XII.21</c:v>
                </c:pt>
                <c:pt idx="348">
                  <c:v>6.XII.21</c:v>
                </c:pt>
                <c:pt idx="349">
                  <c:v>7.XII.21</c:v>
                </c:pt>
                <c:pt idx="350">
                  <c:v>8.XII.21</c:v>
                </c:pt>
                <c:pt idx="351">
                  <c:v>9.XII.21</c:v>
                </c:pt>
                <c:pt idx="352">
                  <c:v>10.XII.21</c:v>
                </c:pt>
                <c:pt idx="353">
                  <c:v>11.XII.21</c:v>
                </c:pt>
                <c:pt idx="354">
                  <c:v>12.XII.21</c:v>
                </c:pt>
                <c:pt idx="355">
                  <c:v>13.XII.21</c:v>
                </c:pt>
                <c:pt idx="356">
                  <c:v>14.XII.21</c:v>
                </c:pt>
                <c:pt idx="357">
                  <c:v>15.XII.21</c:v>
                </c:pt>
                <c:pt idx="358">
                  <c:v>16.XII.21</c:v>
                </c:pt>
                <c:pt idx="359">
                  <c:v>17.XII.21</c:v>
                </c:pt>
                <c:pt idx="360">
                  <c:v>18.XII.21</c:v>
                </c:pt>
                <c:pt idx="361">
                  <c:v>19.XII.21</c:v>
                </c:pt>
                <c:pt idx="362">
                  <c:v>20.XII.21</c:v>
                </c:pt>
                <c:pt idx="363">
                  <c:v>21.XII.21</c:v>
                </c:pt>
                <c:pt idx="364">
                  <c:v>22.XII.21</c:v>
                </c:pt>
                <c:pt idx="365">
                  <c:v>23.XII.21</c:v>
                </c:pt>
                <c:pt idx="366">
                  <c:v>24.XII.21</c:v>
                </c:pt>
                <c:pt idx="367">
                  <c:v>27.XII.21</c:v>
                </c:pt>
                <c:pt idx="368">
                  <c:v>28.XII.21</c:v>
                </c:pt>
                <c:pt idx="369">
                  <c:v>29.XII.21</c:v>
                </c:pt>
                <c:pt idx="370">
                  <c:v>30.XII.21</c:v>
                </c:pt>
                <c:pt idx="371">
                  <c:v>31.XII.21</c:v>
                </c:pt>
                <c:pt idx="372">
                  <c:v>2.I.22</c:v>
                </c:pt>
                <c:pt idx="373">
                  <c:v>3.I.22</c:v>
                </c:pt>
                <c:pt idx="374">
                  <c:v>4.I.22</c:v>
                </c:pt>
                <c:pt idx="375">
                  <c:v>5.I.22</c:v>
                </c:pt>
                <c:pt idx="376">
                  <c:v>6.I.22</c:v>
                </c:pt>
                <c:pt idx="377">
                  <c:v>7.I.22</c:v>
                </c:pt>
                <c:pt idx="378">
                  <c:v>8.I.22</c:v>
                </c:pt>
                <c:pt idx="379">
                  <c:v>9.I.22</c:v>
                </c:pt>
                <c:pt idx="380">
                  <c:v>10.I.22</c:v>
                </c:pt>
                <c:pt idx="381">
                  <c:v>11.I.22</c:v>
                </c:pt>
                <c:pt idx="382">
                  <c:v>12.I.22</c:v>
                </c:pt>
                <c:pt idx="383">
                  <c:v>13.I.22</c:v>
                </c:pt>
                <c:pt idx="384">
                  <c:v>14.I.22</c:v>
                </c:pt>
                <c:pt idx="385">
                  <c:v>15.I.22</c:v>
                </c:pt>
                <c:pt idx="386">
                  <c:v>16.I.22</c:v>
                </c:pt>
                <c:pt idx="387">
                  <c:v>17.I.22</c:v>
                </c:pt>
                <c:pt idx="388">
                  <c:v>18.I.22</c:v>
                </c:pt>
                <c:pt idx="389">
                  <c:v>19.I.22</c:v>
                </c:pt>
                <c:pt idx="390">
                  <c:v>20.I.22</c:v>
                </c:pt>
                <c:pt idx="391">
                  <c:v>21.I.22</c:v>
                </c:pt>
                <c:pt idx="392">
                  <c:v>22.I.22</c:v>
                </c:pt>
                <c:pt idx="393">
                  <c:v>23.I.22</c:v>
                </c:pt>
                <c:pt idx="394">
                  <c:v>24.I.22</c:v>
                </c:pt>
                <c:pt idx="395">
                  <c:v>25.I.22</c:v>
                </c:pt>
                <c:pt idx="396">
                  <c:v>26.I.22</c:v>
                </c:pt>
                <c:pt idx="397">
                  <c:v>27.I.22</c:v>
                </c:pt>
                <c:pt idx="398">
                  <c:v>28.I.22</c:v>
                </c:pt>
                <c:pt idx="399">
                  <c:v>29.I.22</c:v>
                </c:pt>
                <c:pt idx="400">
                  <c:v>30.I.22</c:v>
                </c:pt>
                <c:pt idx="401">
                  <c:v>31.I.22</c:v>
                </c:pt>
                <c:pt idx="402">
                  <c:v>1.II.22</c:v>
                </c:pt>
                <c:pt idx="403">
                  <c:v>2.II.22</c:v>
                </c:pt>
                <c:pt idx="404">
                  <c:v>3.II.22</c:v>
                </c:pt>
                <c:pt idx="405">
                  <c:v>4.II.22</c:v>
                </c:pt>
                <c:pt idx="406">
                  <c:v>5.II.22</c:v>
                </c:pt>
                <c:pt idx="407">
                  <c:v>6.II.22</c:v>
                </c:pt>
                <c:pt idx="408">
                  <c:v>7.II.22</c:v>
                </c:pt>
                <c:pt idx="409">
                  <c:v>8.II.22</c:v>
                </c:pt>
                <c:pt idx="410">
                  <c:v>9.II.22</c:v>
                </c:pt>
                <c:pt idx="411">
                  <c:v>10.II.22</c:v>
                </c:pt>
                <c:pt idx="412">
                  <c:v>11.II.22</c:v>
                </c:pt>
                <c:pt idx="413">
                  <c:v>12.II.22</c:v>
                </c:pt>
                <c:pt idx="414">
                  <c:v>14.II.22</c:v>
                </c:pt>
                <c:pt idx="415">
                  <c:v>15.II.22</c:v>
                </c:pt>
                <c:pt idx="416">
                  <c:v>16.II.22</c:v>
                </c:pt>
                <c:pt idx="417">
                  <c:v>17.II.22</c:v>
                </c:pt>
                <c:pt idx="418">
                  <c:v>18.II.22</c:v>
                </c:pt>
                <c:pt idx="419">
                  <c:v>19.II.22</c:v>
                </c:pt>
                <c:pt idx="420">
                  <c:v>21.II.22</c:v>
                </c:pt>
                <c:pt idx="421">
                  <c:v>22.II.22</c:v>
                </c:pt>
                <c:pt idx="422">
                  <c:v>23.II.22</c:v>
                </c:pt>
                <c:pt idx="423">
                  <c:v>24.II.22</c:v>
                </c:pt>
                <c:pt idx="424">
                  <c:v>25.II.22</c:v>
                </c:pt>
                <c:pt idx="425">
                  <c:v>28.II.22</c:v>
                </c:pt>
                <c:pt idx="426">
                  <c:v>1.III.22</c:v>
                </c:pt>
                <c:pt idx="427">
                  <c:v>2.III.22</c:v>
                </c:pt>
                <c:pt idx="428">
                  <c:v>3.III.22</c:v>
                </c:pt>
                <c:pt idx="429">
                  <c:v>4.III.22</c:v>
                </c:pt>
                <c:pt idx="430">
                  <c:v>5.III.22</c:v>
                </c:pt>
                <c:pt idx="431">
                  <c:v>7.III.22</c:v>
                </c:pt>
                <c:pt idx="432">
                  <c:v>8.III.22</c:v>
                </c:pt>
                <c:pt idx="433">
                  <c:v>9.III.22</c:v>
                </c:pt>
                <c:pt idx="434">
                  <c:v>10.III.22</c:v>
                </c:pt>
                <c:pt idx="435">
                  <c:v>11.III.22</c:v>
                </c:pt>
                <c:pt idx="436">
                  <c:v>12.III.22</c:v>
                </c:pt>
                <c:pt idx="437">
                  <c:v>14.III.22</c:v>
                </c:pt>
                <c:pt idx="438">
                  <c:v>15.III.22</c:v>
                </c:pt>
                <c:pt idx="439">
                  <c:v>16.III.22</c:v>
                </c:pt>
                <c:pt idx="440">
                  <c:v>17.III.22</c:v>
                </c:pt>
                <c:pt idx="441">
                  <c:v>18.III.22</c:v>
                </c:pt>
              </c:strCache>
            </c:strRef>
          </c:cat>
          <c:val>
            <c:numRef>
              <c:f>List1!$E$5:$QD$5</c:f>
              <c:numCache>
                <c:formatCode>General</c:formatCode>
                <c:ptCount val="442"/>
                <c:pt idx="4">
                  <c:v>448</c:v>
                </c:pt>
                <c:pt idx="5">
                  <c:v>1180</c:v>
                </c:pt>
                <c:pt idx="6">
                  <c:v>2129</c:v>
                </c:pt>
                <c:pt idx="7">
                  <c:v>3071</c:v>
                </c:pt>
                <c:pt idx="8">
                  <c:v>3408</c:v>
                </c:pt>
                <c:pt idx="9">
                  <c:v>3497</c:v>
                </c:pt>
                <c:pt idx="10">
                  <c:v>3887</c:v>
                </c:pt>
                <c:pt idx="11">
                  <c:v>4200</c:v>
                </c:pt>
                <c:pt idx="12">
                  <c:v>5394</c:v>
                </c:pt>
                <c:pt idx="13">
                  <c:v>6706</c:v>
                </c:pt>
                <c:pt idx="14">
                  <c:v>8204</c:v>
                </c:pt>
                <c:pt idx="15">
                  <c:v>9879</c:v>
                </c:pt>
                <c:pt idx="16">
                  <c:v>11685</c:v>
                </c:pt>
                <c:pt idx="17">
                  <c:v>12094</c:v>
                </c:pt>
                <c:pt idx="18">
                  <c:v>12387</c:v>
                </c:pt>
                <c:pt idx="19">
                  <c:v>14132</c:v>
                </c:pt>
                <c:pt idx="20">
                  <c:v>16077</c:v>
                </c:pt>
                <c:pt idx="21">
                  <c:v>17778</c:v>
                </c:pt>
                <c:pt idx="22">
                  <c:v>19681</c:v>
                </c:pt>
                <c:pt idx="23">
                  <c:v>21481</c:v>
                </c:pt>
                <c:pt idx="24">
                  <c:v>21816</c:v>
                </c:pt>
                <c:pt idx="25">
                  <c:v>22041</c:v>
                </c:pt>
                <c:pt idx="26">
                  <c:v>23597</c:v>
                </c:pt>
                <c:pt idx="27">
                  <c:v>24773</c:v>
                </c:pt>
                <c:pt idx="28">
                  <c:v>25900</c:v>
                </c:pt>
                <c:pt idx="29">
                  <c:v>26894</c:v>
                </c:pt>
                <c:pt idx="30">
                  <c:v>27724</c:v>
                </c:pt>
                <c:pt idx="31">
                  <c:v>27893</c:v>
                </c:pt>
                <c:pt idx="32">
                  <c:v>27975</c:v>
                </c:pt>
                <c:pt idx="33">
                  <c:v>28487</c:v>
                </c:pt>
                <c:pt idx="34">
                  <c:v>29025</c:v>
                </c:pt>
                <c:pt idx="35">
                  <c:v>29424</c:v>
                </c:pt>
                <c:pt idx="36">
                  <c:v>29800</c:v>
                </c:pt>
                <c:pt idx="37">
                  <c:v>30132</c:v>
                </c:pt>
                <c:pt idx="38">
                  <c:v>30157</c:v>
                </c:pt>
                <c:pt idx="39">
                  <c:v>30178</c:v>
                </c:pt>
                <c:pt idx="40">
                  <c:v>30421</c:v>
                </c:pt>
                <c:pt idx="41">
                  <c:v>30657</c:v>
                </c:pt>
                <c:pt idx="42">
                  <c:v>30880</c:v>
                </c:pt>
                <c:pt idx="43">
                  <c:v>31074</c:v>
                </c:pt>
                <c:pt idx="44">
                  <c:v>31349</c:v>
                </c:pt>
                <c:pt idx="45">
                  <c:v>31369</c:v>
                </c:pt>
                <c:pt idx="46">
                  <c:v>31381</c:v>
                </c:pt>
                <c:pt idx="47">
                  <c:v>31515</c:v>
                </c:pt>
                <c:pt idx="48">
                  <c:v>31653</c:v>
                </c:pt>
                <c:pt idx="49">
                  <c:v>31848</c:v>
                </c:pt>
                <c:pt idx="50">
                  <c:v>32079</c:v>
                </c:pt>
                <c:pt idx="51">
                  <c:v>32357</c:v>
                </c:pt>
                <c:pt idx="52">
                  <c:v>32456</c:v>
                </c:pt>
                <c:pt idx="53">
                  <c:v>32520</c:v>
                </c:pt>
                <c:pt idx="54">
                  <c:v>32876</c:v>
                </c:pt>
                <c:pt idx="55">
                  <c:v>33173</c:v>
                </c:pt>
                <c:pt idx="56">
                  <c:v>33435</c:v>
                </c:pt>
                <c:pt idx="57">
                  <c:v>33773</c:v>
                </c:pt>
                <c:pt idx="58">
                  <c:v>34219</c:v>
                </c:pt>
                <c:pt idx="59">
                  <c:v>34325</c:v>
                </c:pt>
                <c:pt idx="60">
                  <c:v>34372</c:v>
                </c:pt>
                <c:pt idx="61">
                  <c:v>34682</c:v>
                </c:pt>
                <c:pt idx="62">
                  <c:v>35161</c:v>
                </c:pt>
                <c:pt idx="63">
                  <c:v>35759</c:v>
                </c:pt>
                <c:pt idx="64">
                  <c:v>36412</c:v>
                </c:pt>
                <c:pt idx="65">
                  <c:v>36954</c:v>
                </c:pt>
                <c:pt idx="66">
                  <c:v>37028</c:v>
                </c:pt>
                <c:pt idx="67">
                  <c:v>37071</c:v>
                </c:pt>
                <c:pt idx="68">
                  <c:v>37617</c:v>
                </c:pt>
                <c:pt idx="69">
                  <c:v>38212</c:v>
                </c:pt>
                <c:pt idx="70">
                  <c:v>38773</c:v>
                </c:pt>
                <c:pt idx="71">
                  <c:v>39316</c:v>
                </c:pt>
                <c:pt idx="72">
                  <c:v>39907</c:v>
                </c:pt>
                <c:pt idx="73">
                  <c:v>40074</c:v>
                </c:pt>
                <c:pt idx="74">
                  <c:v>40183</c:v>
                </c:pt>
                <c:pt idx="75">
                  <c:v>40510</c:v>
                </c:pt>
                <c:pt idx="76">
                  <c:v>40907</c:v>
                </c:pt>
                <c:pt idx="77">
                  <c:v>41309</c:v>
                </c:pt>
                <c:pt idx="78">
                  <c:v>41786</c:v>
                </c:pt>
                <c:pt idx="79">
                  <c:v>42190</c:v>
                </c:pt>
                <c:pt idx="80">
                  <c:v>42328</c:v>
                </c:pt>
                <c:pt idx="81">
                  <c:v>42413</c:v>
                </c:pt>
                <c:pt idx="82">
                  <c:v>42665</c:v>
                </c:pt>
                <c:pt idx="83">
                  <c:v>43027</c:v>
                </c:pt>
                <c:pt idx="84">
                  <c:v>43382</c:v>
                </c:pt>
                <c:pt idx="85">
                  <c:v>43737</c:v>
                </c:pt>
                <c:pt idx="86">
                  <c:v>44066</c:v>
                </c:pt>
                <c:pt idx="87">
                  <c:v>44181</c:v>
                </c:pt>
                <c:pt idx="88">
                  <c:v>44251</c:v>
                </c:pt>
                <c:pt idx="89">
                  <c:v>44423</c:v>
                </c:pt>
                <c:pt idx="90">
                  <c:v>44616</c:v>
                </c:pt>
                <c:pt idx="91">
                  <c:v>44763</c:v>
                </c:pt>
                <c:pt idx="92">
                  <c:v>44956</c:v>
                </c:pt>
                <c:pt idx="93">
                  <c:v>45175</c:v>
                </c:pt>
                <c:pt idx="94">
                  <c:v>45238</c:v>
                </c:pt>
                <c:pt idx="95">
                  <c:v>45279</c:v>
                </c:pt>
                <c:pt idx="96">
                  <c:v>45404</c:v>
                </c:pt>
                <c:pt idx="97">
                  <c:v>45564</c:v>
                </c:pt>
                <c:pt idx="98">
                  <c:v>45723</c:v>
                </c:pt>
                <c:pt idx="99">
                  <c:v>45943</c:v>
                </c:pt>
                <c:pt idx="100">
                  <c:v>46020</c:v>
                </c:pt>
                <c:pt idx="101">
                  <c:v>46040</c:v>
                </c:pt>
                <c:pt idx="102">
                  <c:v>46068</c:v>
                </c:pt>
                <c:pt idx="103">
                  <c:v>46075</c:v>
                </c:pt>
                <c:pt idx="104">
                  <c:v>46165</c:v>
                </c:pt>
                <c:pt idx="105">
                  <c:v>46259</c:v>
                </c:pt>
                <c:pt idx="106">
                  <c:v>46427</c:v>
                </c:pt>
                <c:pt idx="107">
                  <c:v>46627</c:v>
                </c:pt>
                <c:pt idx="108">
                  <c:v>46672</c:v>
                </c:pt>
                <c:pt idx="109">
                  <c:v>46705</c:v>
                </c:pt>
                <c:pt idx="110">
                  <c:v>46841</c:v>
                </c:pt>
                <c:pt idx="111">
                  <c:v>46963</c:v>
                </c:pt>
                <c:pt idx="112">
                  <c:v>47068</c:v>
                </c:pt>
                <c:pt idx="113">
                  <c:v>47225</c:v>
                </c:pt>
                <c:pt idx="114">
                  <c:v>47400</c:v>
                </c:pt>
                <c:pt idx="115">
                  <c:v>47441</c:v>
                </c:pt>
                <c:pt idx="116">
                  <c:v>47496</c:v>
                </c:pt>
                <c:pt idx="117">
                  <c:v>47623</c:v>
                </c:pt>
                <c:pt idx="118">
                  <c:v>47743</c:v>
                </c:pt>
                <c:pt idx="119">
                  <c:v>47877</c:v>
                </c:pt>
                <c:pt idx="120">
                  <c:v>48023</c:v>
                </c:pt>
                <c:pt idx="121">
                  <c:v>48180</c:v>
                </c:pt>
                <c:pt idx="122">
                  <c:v>48236</c:v>
                </c:pt>
                <c:pt idx="123">
                  <c:v>48271</c:v>
                </c:pt>
                <c:pt idx="124">
                  <c:v>48383</c:v>
                </c:pt>
                <c:pt idx="125">
                  <c:v>48504</c:v>
                </c:pt>
                <c:pt idx="126">
                  <c:v>48622</c:v>
                </c:pt>
                <c:pt idx="127">
                  <c:v>48755</c:v>
                </c:pt>
                <c:pt idx="128">
                  <c:v>48894</c:v>
                </c:pt>
                <c:pt idx="129">
                  <c:v>48923</c:v>
                </c:pt>
                <c:pt idx="130">
                  <c:v>48952</c:v>
                </c:pt>
                <c:pt idx="131">
                  <c:v>49072</c:v>
                </c:pt>
                <c:pt idx="132">
                  <c:v>49197</c:v>
                </c:pt>
                <c:pt idx="133">
                  <c:v>49294</c:v>
                </c:pt>
                <c:pt idx="134">
                  <c:v>49411</c:v>
                </c:pt>
                <c:pt idx="135">
                  <c:v>49584</c:v>
                </c:pt>
                <c:pt idx="136">
                  <c:v>49646</c:v>
                </c:pt>
                <c:pt idx="137">
                  <c:v>49678</c:v>
                </c:pt>
                <c:pt idx="138">
                  <c:v>49777</c:v>
                </c:pt>
                <c:pt idx="139">
                  <c:v>49894</c:v>
                </c:pt>
                <c:pt idx="140">
                  <c:v>50024</c:v>
                </c:pt>
                <c:pt idx="141">
                  <c:v>50182</c:v>
                </c:pt>
                <c:pt idx="142">
                  <c:v>50308</c:v>
                </c:pt>
                <c:pt idx="143">
                  <c:v>50379</c:v>
                </c:pt>
                <c:pt idx="144">
                  <c:v>50411</c:v>
                </c:pt>
                <c:pt idx="145">
                  <c:v>50493</c:v>
                </c:pt>
                <c:pt idx="146">
                  <c:v>50585</c:v>
                </c:pt>
                <c:pt idx="147">
                  <c:v>50670</c:v>
                </c:pt>
                <c:pt idx="148">
                  <c:v>50770</c:v>
                </c:pt>
                <c:pt idx="149">
                  <c:v>50877</c:v>
                </c:pt>
                <c:pt idx="150">
                  <c:v>50907</c:v>
                </c:pt>
                <c:pt idx="151">
                  <c:v>50922</c:v>
                </c:pt>
                <c:pt idx="152">
                  <c:v>50971</c:v>
                </c:pt>
                <c:pt idx="153">
                  <c:v>51031</c:v>
                </c:pt>
                <c:pt idx="154">
                  <c:v>51123</c:v>
                </c:pt>
                <c:pt idx="155">
                  <c:v>51205</c:v>
                </c:pt>
                <c:pt idx="156">
                  <c:v>51309</c:v>
                </c:pt>
                <c:pt idx="157">
                  <c:v>51346</c:v>
                </c:pt>
                <c:pt idx="158">
                  <c:v>51379</c:v>
                </c:pt>
                <c:pt idx="159">
                  <c:v>51454</c:v>
                </c:pt>
                <c:pt idx="160">
                  <c:v>51534</c:v>
                </c:pt>
                <c:pt idx="161">
                  <c:v>51628</c:v>
                </c:pt>
                <c:pt idx="162">
                  <c:v>51699</c:v>
                </c:pt>
                <c:pt idx="163">
                  <c:v>51797</c:v>
                </c:pt>
                <c:pt idx="164">
                  <c:v>51824</c:v>
                </c:pt>
                <c:pt idx="165">
                  <c:v>51857</c:v>
                </c:pt>
                <c:pt idx="166">
                  <c:v>51936</c:v>
                </c:pt>
                <c:pt idx="167">
                  <c:v>52034</c:v>
                </c:pt>
                <c:pt idx="168">
                  <c:v>52121</c:v>
                </c:pt>
                <c:pt idx="169">
                  <c:v>52206</c:v>
                </c:pt>
                <c:pt idx="170">
                  <c:v>52300</c:v>
                </c:pt>
                <c:pt idx="171">
                  <c:v>52329</c:v>
                </c:pt>
                <c:pt idx="172">
                  <c:v>52359</c:v>
                </c:pt>
                <c:pt idx="173">
                  <c:v>52429</c:v>
                </c:pt>
                <c:pt idx="174">
                  <c:v>52483</c:v>
                </c:pt>
                <c:pt idx="175">
                  <c:v>52558</c:v>
                </c:pt>
                <c:pt idx="176">
                  <c:v>52636</c:v>
                </c:pt>
                <c:pt idx="177">
                  <c:v>52714</c:v>
                </c:pt>
                <c:pt idx="178">
                  <c:v>52742</c:v>
                </c:pt>
                <c:pt idx="179">
                  <c:v>52767</c:v>
                </c:pt>
                <c:pt idx="180">
                  <c:v>52806</c:v>
                </c:pt>
                <c:pt idx="181">
                  <c:v>52856</c:v>
                </c:pt>
                <c:pt idx="182">
                  <c:v>52911</c:v>
                </c:pt>
                <c:pt idx="183">
                  <c:v>52963</c:v>
                </c:pt>
                <c:pt idx="184">
                  <c:v>53020</c:v>
                </c:pt>
                <c:pt idx="185">
                  <c:v>53034</c:v>
                </c:pt>
                <c:pt idx="186">
                  <c:v>53046</c:v>
                </c:pt>
                <c:pt idx="187">
                  <c:v>53090</c:v>
                </c:pt>
                <c:pt idx="188">
                  <c:v>53135</c:v>
                </c:pt>
                <c:pt idx="189">
                  <c:v>53193</c:v>
                </c:pt>
                <c:pt idx="190">
                  <c:v>53237</c:v>
                </c:pt>
                <c:pt idx="191">
                  <c:v>53292</c:v>
                </c:pt>
                <c:pt idx="192">
                  <c:v>53304</c:v>
                </c:pt>
                <c:pt idx="193">
                  <c:v>53316</c:v>
                </c:pt>
                <c:pt idx="194">
                  <c:v>53322</c:v>
                </c:pt>
                <c:pt idx="195">
                  <c:v>53331</c:v>
                </c:pt>
                <c:pt idx="196">
                  <c:v>53371</c:v>
                </c:pt>
                <c:pt idx="197">
                  <c:v>53426</c:v>
                </c:pt>
                <c:pt idx="198">
                  <c:v>53474</c:v>
                </c:pt>
                <c:pt idx="199">
                  <c:v>53489</c:v>
                </c:pt>
                <c:pt idx="200">
                  <c:v>53503</c:v>
                </c:pt>
                <c:pt idx="201">
                  <c:v>53551</c:v>
                </c:pt>
                <c:pt idx="202">
                  <c:v>53594</c:v>
                </c:pt>
                <c:pt idx="203">
                  <c:v>53640</c:v>
                </c:pt>
                <c:pt idx="204">
                  <c:v>53700</c:v>
                </c:pt>
                <c:pt idx="205">
                  <c:v>53755</c:v>
                </c:pt>
                <c:pt idx="206">
                  <c:v>53777</c:v>
                </c:pt>
                <c:pt idx="207">
                  <c:v>53796</c:v>
                </c:pt>
                <c:pt idx="208">
                  <c:v>53845</c:v>
                </c:pt>
                <c:pt idx="209">
                  <c:v>53891</c:v>
                </c:pt>
                <c:pt idx="210">
                  <c:v>53960</c:v>
                </c:pt>
                <c:pt idx="211">
                  <c:v>53998</c:v>
                </c:pt>
                <c:pt idx="212">
                  <c:v>54031</c:v>
                </c:pt>
                <c:pt idx="213">
                  <c:v>54037</c:v>
                </c:pt>
                <c:pt idx="214">
                  <c:v>54046</c:v>
                </c:pt>
                <c:pt idx="215">
                  <c:v>54087</c:v>
                </c:pt>
                <c:pt idx="216">
                  <c:v>54138</c:v>
                </c:pt>
                <c:pt idx="217">
                  <c:v>54172</c:v>
                </c:pt>
                <c:pt idx="218">
                  <c:v>54200</c:v>
                </c:pt>
                <c:pt idx="219">
                  <c:v>54244</c:v>
                </c:pt>
                <c:pt idx="220">
                  <c:v>54261</c:v>
                </c:pt>
                <c:pt idx="221">
                  <c:v>54274</c:v>
                </c:pt>
                <c:pt idx="222">
                  <c:v>54311</c:v>
                </c:pt>
                <c:pt idx="223">
                  <c:v>54337</c:v>
                </c:pt>
                <c:pt idx="224">
                  <c:v>54377</c:v>
                </c:pt>
                <c:pt idx="225">
                  <c:v>54407</c:v>
                </c:pt>
                <c:pt idx="226">
                  <c:v>54440</c:v>
                </c:pt>
                <c:pt idx="227">
                  <c:v>54453</c:v>
                </c:pt>
                <c:pt idx="228">
                  <c:v>54458</c:v>
                </c:pt>
                <c:pt idx="229">
                  <c:v>54480</c:v>
                </c:pt>
                <c:pt idx="230">
                  <c:v>54495</c:v>
                </c:pt>
                <c:pt idx="231">
                  <c:v>54515</c:v>
                </c:pt>
                <c:pt idx="232">
                  <c:v>54538</c:v>
                </c:pt>
                <c:pt idx="233">
                  <c:v>54563</c:v>
                </c:pt>
                <c:pt idx="234">
                  <c:v>54573</c:v>
                </c:pt>
                <c:pt idx="235">
                  <c:v>54578</c:v>
                </c:pt>
                <c:pt idx="236">
                  <c:v>54595</c:v>
                </c:pt>
                <c:pt idx="237">
                  <c:v>54619</c:v>
                </c:pt>
                <c:pt idx="238">
                  <c:v>54642</c:v>
                </c:pt>
                <c:pt idx="239">
                  <c:v>54664</c:v>
                </c:pt>
                <c:pt idx="240">
                  <c:v>54697</c:v>
                </c:pt>
                <c:pt idx="241">
                  <c:v>54707</c:v>
                </c:pt>
                <c:pt idx="242">
                  <c:v>54710</c:v>
                </c:pt>
                <c:pt idx="243">
                  <c:v>54722</c:v>
                </c:pt>
                <c:pt idx="244">
                  <c:v>54750</c:v>
                </c:pt>
                <c:pt idx="245">
                  <c:v>54774</c:v>
                </c:pt>
                <c:pt idx="246">
                  <c:v>54801</c:v>
                </c:pt>
                <c:pt idx="247">
                  <c:v>54829</c:v>
                </c:pt>
                <c:pt idx="248">
                  <c:v>54831</c:v>
                </c:pt>
                <c:pt idx="249">
                  <c:v>54838</c:v>
                </c:pt>
                <c:pt idx="250">
                  <c:v>54860</c:v>
                </c:pt>
                <c:pt idx="251">
                  <c:v>54885</c:v>
                </c:pt>
                <c:pt idx="252">
                  <c:v>54905</c:v>
                </c:pt>
                <c:pt idx="253">
                  <c:v>54933</c:v>
                </c:pt>
                <c:pt idx="254">
                  <c:v>54959</c:v>
                </c:pt>
                <c:pt idx="255">
                  <c:v>54967</c:v>
                </c:pt>
                <c:pt idx="256">
                  <c:v>54972</c:v>
                </c:pt>
                <c:pt idx="257">
                  <c:v>54985</c:v>
                </c:pt>
                <c:pt idx="258">
                  <c:v>54998</c:v>
                </c:pt>
                <c:pt idx="259">
                  <c:v>55018</c:v>
                </c:pt>
                <c:pt idx="260">
                  <c:v>55046</c:v>
                </c:pt>
                <c:pt idx="261">
                  <c:v>55071</c:v>
                </c:pt>
                <c:pt idx="262">
                  <c:v>55073</c:v>
                </c:pt>
                <c:pt idx="263">
                  <c:v>55076</c:v>
                </c:pt>
                <c:pt idx="264">
                  <c:v>55095</c:v>
                </c:pt>
                <c:pt idx="265">
                  <c:v>55113</c:v>
                </c:pt>
                <c:pt idx="266">
                  <c:v>55128</c:v>
                </c:pt>
                <c:pt idx="267">
                  <c:v>55146</c:v>
                </c:pt>
                <c:pt idx="268">
                  <c:v>55171</c:v>
                </c:pt>
                <c:pt idx="269">
                  <c:v>55176</c:v>
                </c:pt>
                <c:pt idx="270">
                  <c:v>55176</c:v>
                </c:pt>
                <c:pt idx="271">
                  <c:v>55196</c:v>
                </c:pt>
                <c:pt idx="272">
                  <c:v>55204</c:v>
                </c:pt>
                <c:pt idx="273">
                  <c:v>55215</c:v>
                </c:pt>
                <c:pt idx="274">
                  <c:v>55238</c:v>
                </c:pt>
                <c:pt idx="275">
                  <c:v>55263</c:v>
                </c:pt>
                <c:pt idx="276">
                  <c:v>55269</c:v>
                </c:pt>
                <c:pt idx="277">
                  <c:v>55269</c:v>
                </c:pt>
                <c:pt idx="278">
                  <c:v>55281</c:v>
                </c:pt>
                <c:pt idx="279">
                  <c:v>55281</c:v>
                </c:pt>
                <c:pt idx="280">
                  <c:v>55298</c:v>
                </c:pt>
                <c:pt idx="281">
                  <c:v>55313</c:v>
                </c:pt>
                <c:pt idx="282">
                  <c:v>55333</c:v>
                </c:pt>
                <c:pt idx="283">
                  <c:v>55339</c:v>
                </c:pt>
                <c:pt idx="284">
                  <c:v>55339</c:v>
                </c:pt>
                <c:pt idx="285">
                  <c:v>55348</c:v>
                </c:pt>
                <c:pt idx="286">
                  <c:v>55355</c:v>
                </c:pt>
                <c:pt idx="287">
                  <c:v>55367</c:v>
                </c:pt>
                <c:pt idx="288">
                  <c:v>55385</c:v>
                </c:pt>
                <c:pt idx="289">
                  <c:v>55399</c:v>
                </c:pt>
                <c:pt idx="290">
                  <c:v>55405</c:v>
                </c:pt>
                <c:pt idx="291">
                  <c:v>55405</c:v>
                </c:pt>
                <c:pt idx="292">
                  <c:v>55424</c:v>
                </c:pt>
                <c:pt idx="293">
                  <c:v>55442</c:v>
                </c:pt>
                <c:pt idx="294">
                  <c:v>55449</c:v>
                </c:pt>
                <c:pt idx="295">
                  <c:v>55459</c:v>
                </c:pt>
                <c:pt idx="296">
                  <c:v>55476</c:v>
                </c:pt>
                <c:pt idx="297">
                  <c:v>55478</c:v>
                </c:pt>
                <c:pt idx="298">
                  <c:v>55480</c:v>
                </c:pt>
                <c:pt idx="299">
                  <c:v>55501</c:v>
                </c:pt>
                <c:pt idx="300">
                  <c:v>55508</c:v>
                </c:pt>
                <c:pt idx="301">
                  <c:v>55522</c:v>
                </c:pt>
                <c:pt idx="302">
                  <c:v>55547</c:v>
                </c:pt>
                <c:pt idx="303">
                  <c:v>55586</c:v>
                </c:pt>
                <c:pt idx="304">
                  <c:v>55593</c:v>
                </c:pt>
                <c:pt idx="305">
                  <c:v>55599</c:v>
                </c:pt>
                <c:pt idx="306">
                  <c:v>55620</c:v>
                </c:pt>
                <c:pt idx="307">
                  <c:v>55657</c:v>
                </c:pt>
                <c:pt idx="308">
                  <c:v>55704</c:v>
                </c:pt>
                <c:pt idx="309">
                  <c:v>55711</c:v>
                </c:pt>
                <c:pt idx="310">
                  <c:v>55745</c:v>
                </c:pt>
                <c:pt idx="311">
                  <c:v>55757</c:v>
                </c:pt>
                <c:pt idx="312">
                  <c:v>55760</c:v>
                </c:pt>
                <c:pt idx="313">
                  <c:v>55804</c:v>
                </c:pt>
                <c:pt idx="314">
                  <c:v>55844</c:v>
                </c:pt>
                <c:pt idx="315">
                  <c:v>55879</c:v>
                </c:pt>
                <c:pt idx="316">
                  <c:v>55937</c:v>
                </c:pt>
                <c:pt idx="317">
                  <c:v>56000</c:v>
                </c:pt>
                <c:pt idx="318">
                  <c:v>56024</c:v>
                </c:pt>
                <c:pt idx="319">
                  <c:v>56037</c:v>
                </c:pt>
                <c:pt idx="320">
                  <c:v>56067</c:v>
                </c:pt>
                <c:pt idx="321">
                  <c:v>56102</c:v>
                </c:pt>
                <c:pt idx="322">
                  <c:v>56135</c:v>
                </c:pt>
                <c:pt idx="323">
                  <c:v>56169</c:v>
                </c:pt>
                <c:pt idx="324">
                  <c:v>56233</c:v>
                </c:pt>
                <c:pt idx="325">
                  <c:v>56244</c:v>
                </c:pt>
                <c:pt idx="326">
                  <c:v>56253</c:v>
                </c:pt>
                <c:pt idx="327">
                  <c:v>56300</c:v>
                </c:pt>
                <c:pt idx="328">
                  <c:v>56355</c:v>
                </c:pt>
                <c:pt idx="329">
                  <c:v>56370</c:v>
                </c:pt>
                <c:pt idx="330">
                  <c:v>56415</c:v>
                </c:pt>
                <c:pt idx="331">
                  <c:v>56482</c:v>
                </c:pt>
                <c:pt idx="332">
                  <c:v>56508</c:v>
                </c:pt>
                <c:pt idx="333">
                  <c:v>56519</c:v>
                </c:pt>
                <c:pt idx="334">
                  <c:v>56567</c:v>
                </c:pt>
                <c:pt idx="335">
                  <c:v>56616</c:v>
                </c:pt>
                <c:pt idx="336">
                  <c:v>56651</c:v>
                </c:pt>
                <c:pt idx="337">
                  <c:v>56702</c:v>
                </c:pt>
                <c:pt idx="338">
                  <c:v>56763</c:v>
                </c:pt>
                <c:pt idx="339">
                  <c:v>56773</c:v>
                </c:pt>
                <c:pt idx="340">
                  <c:v>56778</c:v>
                </c:pt>
                <c:pt idx="341">
                  <c:v>56808</c:v>
                </c:pt>
                <c:pt idx="342">
                  <c:v>56836</c:v>
                </c:pt>
                <c:pt idx="343">
                  <c:v>56869</c:v>
                </c:pt>
                <c:pt idx="344">
                  <c:v>56895</c:v>
                </c:pt>
                <c:pt idx="345">
                  <c:v>56926</c:v>
                </c:pt>
                <c:pt idx="346">
                  <c:v>56930</c:v>
                </c:pt>
                <c:pt idx="347">
                  <c:v>56932</c:v>
                </c:pt>
                <c:pt idx="348">
                  <c:v>56951</c:v>
                </c:pt>
                <c:pt idx="349">
                  <c:v>56969</c:v>
                </c:pt>
                <c:pt idx="350">
                  <c:v>56993</c:v>
                </c:pt>
                <c:pt idx="351">
                  <c:v>57012</c:v>
                </c:pt>
                <c:pt idx="352">
                  <c:v>57031</c:v>
                </c:pt>
                <c:pt idx="353">
                  <c:v>57035</c:v>
                </c:pt>
                <c:pt idx="354">
                  <c:v>57037</c:v>
                </c:pt>
                <c:pt idx="355">
                  <c:v>57050</c:v>
                </c:pt>
                <c:pt idx="356">
                  <c:v>57061</c:v>
                </c:pt>
                <c:pt idx="357">
                  <c:v>57073</c:v>
                </c:pt>
                <c:pt idx="358">
                  <c:v>57090</c:v>
                </c:pt>
                <c:pt idx="359">
                  <c:v>57107</c:v>
                </c:pt>
                <c:pt idx="360">
                  <c:v>57111</c:v>
                </c:pt>
                <c:pt idx="361">
                  <c:v>57113</c:v>
                </c:pt>
                <c:pt idx="362">
                  <c:v>57122</c:v>
                </c:pt>
                <c:pt idx="363">
                  <c:v>57129</c:v>
                </c:pt>
                <c:pt idx="364">
                  <c:v>57142</c:v>
                </c:pt>
                <c:pt idx="365">
                  <c:v>57144</c:v>
                </c:pt>
                <c:pt idx="366">
                  <c:v>57145</c:v>
                </c:pt>
                <c:pt idx="367">
                  <c:v>57152</c:v>
                </c:pt>
                <c:pt idx="368">
                  <c:v>57157</c:v>
                </c:pt>
                <c:pt idx="369">
                  <c:v>57160</c:v>
                </c:pt>
                <c:pt idx="370">
                  <c:v>57166</c:v>
                </c:pt>
                <c:pt idx="371">
                  <c:v>57168</c:v>
                </c:pt>
                <c:pt idx="372">
                  <c:v>57169</c:v>
                </c:pt>
                <c:pt idx="373">
                  <c:v>57174</c:v>
                </c:pt>
                <c:pt idx="374">
                  <c:v>57180</c:v>
                </c:pt>
                <c:pt idx="375">
                  <c:v>57190</c:v>
                </c:pt>
                <c:pt idx="376">
                  <c:v>57199</c:v>
                </c:pt>
                <c:pt idx="377">
                  <c:v>57214</c:v>
                </c:pt>
                <c:pt idx="378">
                  <c:v>57217</c:v>
                </c:pt>
                <c:pt idx="379">
                  <c:v>57218</c:v>
                </c:pt>
                <c:pt idx="380">
                  <c:v>57226</c:v>
                </c:pt>
                <c:pt idx="381">
                  <c:v>57232</c:v>
                </c:pt>
                <c:pt idx="382">
                  <c:v>57244</c:v>
                </c:pt>
                <c:pt idx="383">
                  <c:v>57255</c:v>
                </c:pt>
                <c:pt idx="384">
                  <c:v>57267</c:v>
                </c:pt>
                <c:pt idx="385">
                  <c:v>57270</c:v>
                </c:pt>
                <c:pt idx="386">
                  <c:v>57270</c:v>
                </c:pt>
                <c:pt idx="387">
                  <c:v>57279</c:v>
                </c:pt>
                <c:pt idx="388">
                  <c:v>57287</c:v>
                </c:pt>
                <c:pt idx="389">
                  <c:v>57290</c:v>
                </c:pt>
                <c:pt idx="390">
                  <c:v>57298</c:v>
                </c:pt>
                <c:pt idx="391">
                  <c:v>57307</c:v>
                </c:pt>
                <c:pt idx="392">
                  <c:v>57308</c:v>
                </c:pt>
                <c:pt idx="393">
                  <c:v>57308</c:v>
                </c:pt>
                <c:pt idx="394">
                  <c:v>57312</c:v>
                </c:pt>
                <c:pt idx="395">
                  <c:v>57316</c:v>
                </c:pt>
                <c:pt idx="396">
                  <c:v>57322</c:v>
                </c:pt>
                <c:pt idx="397">
                  <c:v>57324</c:v>
                </c:pt>
                <c:pt idx="398">
                  <c:v>57332</c:v>
                </c:pt>
                <c:pt idx="399">
                  <c:v>57333</c:v>
                </c:pt>
                <c:pt idx="400">
                  <c:v>57333</c:v>
                </c:pt>
                <c:pt idx="401">
                  <c:v>57338</c:v>
                </c:pt>
                <c:pt idx="402">
                  <c:v>57340</c:v>
                </c:pt>
                <c:pt idx="403">
                  <c:v>57343</c:v>
                </c:pt>
                <c:pt idx="404">
                  <c:v>57346</c:v>
                </c:pt>
                <c:pt idx="405">
                  <c:v>57350</c:v>
                </c:pt>
                <c:pt idx="406">
                  <c:v>57350</c:v>
                </c:pt>
                <c:pt idx="407">
                  <c:v>57350</c:v>
                </c:pt>
                <c:pt idx="408">
                  <c:v>57351</c:v>
                </c:pt>
                <c:pt idx="409">
                  <c:v>57353</c:v>
                </c:pt>
                <c:pt idx="410">
                  <c:v>57355</c:v>
                </c:pt>
                <c:pt idx="411">
                  <c:v>57357</c:v>
                </c:pt>
                <c:pt idx="412">
                  <c:v>57361</c:v>
                </c:pt>
                <c:pt idx="413">
                  <c:v>57361</c:v>
                </c:pt>
                <c:pt idx="414">
                  <c:v>57361</c:v>
                </c:pt>
                <c:pt idx="415">
                  <c:v>57361</c:v>
                </c:pt>
                <c:pt idx="416">
                  <c:v>57362</c:v>
                </c:pt>
                <c:pt idx="417">
                  <c:v>57363</c:v>
                </c:pt>
                <c:pt idx="418">
                  <c:v>57364</c:v>
                </c:pt>
                <c:pt idx="419">
                  <c:v>57364</c:v>
                </c:pt>
                <c:pt idx="420">
                  <c:v>57364</c:v>
                </c:pt>
                <c:pt idx="421">
                  <c:v>57364</c:v>
                </c:pt>
                <c:pt idx="422">
                  <c:v>57365</c:v>
                </c:pt>
                <c:pt idx="423">
                  <c:v>57365</c:v>
                </c:pt>
                <c:pt idx="424">
                  <c:v>57367</c:v>
                </c:pt>
                <c:pt idx="425">
                  <c:v>57368</c:v>
                </c:pt>
                <c:pt idx="426">
                  <c:v>57368</c:v>
                </c:pt>
                <c:pt idx="427">
                  <c:v>57368</c:v>
                </c:pt>
                <c:pt idx="428">
                  <c:v>57369</c:v>
                </c:pt>
                <c:pt idx="429">
                  <c:v>57371</c:v>
                </c:pt>
                <c:pt idx="430">
                  <c:v>57372</c:v>
                </c:pt>
                <c:pt idx="431">
                  <c:v>57372</c:v>
                </c:pt>
                <c:pt idx="432">
                  <c:v>57375</c:v>
                </c:pt>
                <c:pt idx="433">
                  <c:v>57376</c:v>
                </c:pt>
                <c:pt idx="434">
                  <c:v>57376</c:v>
                </c:pt>
                <c:pt idx="435">
                  <c:v>57378</c:v>
                </c:pt>
                <c:pt idx="436">
                  <c:v>57378</c:v>
                </c:pt>
                <c:pt idx="437">
                  <c:v>57381</c:v>
                </c:pt>
                <c:pt idx="438">
                  <c:v>57381</c:v>
                </c:pt>
                <c:pt idx="439">
                  <c:v>57382</c:v>
                </c:pt>
                <c:pt idx="440">
                  <c:v>57384</c:v>
                </c:pt>
                <c:pt idx="441">
                  <c:v>573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405</c:f>
              <c:numCache>
                <c:formatCode>m/d/yyyy</c:formatCode>
                <c:ptCount val="271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  <c:pt idx="257">
                  <c:v>44625</c:v>
                </c:pt>
                <c:pt idx="258">
                  <c:v>44626</c:v>
                </c:pt>
                <c:pt idx="259">
                  <c:v>44627</c:v>
                </c:pt>
                <c:pt idx="260">
                  <c:v>44628</c:v>
                </c:pt>
                <c:pt idx="261">
                  <c:v>44629</c:v>
                </c:pt>
                <c:pt idx="262">
                  <c:v>44630</c:v>
                </c:pt>
                <c:pt idx="263">
                  <c:v>44631</c:v>
                </c:pt>
                <c:pt idx="264">
                  <c:v>44632</c:v>
                </c:pt>
                <c:pt idx="265">
                  <c:v>44633</c:v>
                </c:pt>
                <c:pt idx="266">
                  <c:v>44634</c:v>
                </c:pt>
                <c:pt idx="267">
                  <c:v>44635</c:v>
                </c:pt>
                <c:pt idx="268">
                  <c:v>44636</c:v>
                </c:pt>
                <c:pt idx="269">
                  <c:v>44637</c:v>
                </c:pt>
                <c:pt idx="270">
                  <c:v>44638</c:v>
                </c:pt>
              </c:numCache>
            </c:numRef>
          </c:cat>
          <c:val>
            <c:numRef>
              <c:f>Sheet1!$B$135:$B$405</c:f>
              <c:numCache>
                <c:formatCode>General</c:formatCode>
                <c:ptCount val="271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3</c:v>
                </c:pt>
                <c:pt idx="26">
                  <c:v>2</c:v>
                </c:pt>
                <c:pt idx="27">
                  <c:v>1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4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3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2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7</c:v>
                </c:pt>
                <c:pt idx="45">
                  <c:v>1</c:v>
                </c:pt>
                <c:pt idx="46">
                  <c:v>2</c:v>
                </c:pt>
                <c:pt idx="47">
                  <c:v>0</c:v>
                </c:pt>
                <c:pt idx="48">
                  <c:v>3</c:v>
                </c:pt>
                <c:pt idx="49">
                  <c:v>2</c:v>
                </c:pt>
                <c:pt idx="50">
                  <c:v>0</c:v>
                </c:pt>
                <c:pt idx="51">
                  <c:v>4</c:v>
                </c:pt>
                <c:pt idx="52">
                  <c:v>1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3</c:v>
                </c:pt>
                <c:pt idx="57">
                  <c:v>0</c:v>
                </c:pt>
                <c:pt idx="58">
                  <c:v>0</c:v>
                </c:pt>
                <c:pt idx="59">
                  <c:v>2</c:v>
                </c:pt>
                <c:pt idx="60">
                  <c:v>1</c:v>
                </c:pt>
                <c:pt idx="61">
                  <c:v>0</c:v>
                </c:pt>
                <c:pt idx="62">
                  <c:v>0</c:v>
                </c:pt>
                <c:pt idx="63">
                  <c:v>2</c:v>
                </c:pt>
                <c:pt idx="64">
                  <c:v>0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0</c:v>
                </c:pt>
                <c:pt idx="70">
                  <c:v>0</c:v>
                </c:pt>
                <c:pt idx="71">
                  <c:v>4</c:v>
                </c:pt>
                <c:pt idx="72">
                  <c:v>4</c:v>
                </c:pt>
                <c:pt idx="73">
                  <c:v>1</c:v>
                </c:pt>
                <c:pt idx="74">
                  <c:v>1</c:v>
                </c:pt>
                <c:pt idx="75">
                  <c:v>3</c:v>
                </c:pt>
                <c:pt idx="76">
                  <c:v>1</c:v>
                </c:pt>
                <c:pt idx="77">
                  <c:v>0</c:v>
                </c:pt>
                <c:pt idx="78">
                  <c:v>2</c:v>
                </c:pt>
                <c:pt idx="79">
                  <c:v>0</c:v>
                </c:pt>
                <c:pt idx="80">
                  <c:v>0</c:v>
                </c:pt>
                <c:pt idx="81">
                  <c:v>3</c:v>
                </c:pt>
                <c:pt idx="82">
                  <c:v>3</c:v>
                </c:pt>
                <c:pt idx="83">
                  <c:v>0</c:v>
                </c:pt>
                <c:pt idx="84">
                  <c:v>4</c:v>
                </c:pt>
                <c:pt idx="85">
                  <c:v>2</c:v>
                </c:pt>
                <c:pt idx="86">
                  <c:v>0</c:v>
                </c:pt>
                <c:pt idx="87">
                  <c:v>1</c:v>
                </c:pt>
                <c:pt idx="88">
                  <c:v>2</c:v>
                </c:pt>
                <c:pt idx="89">
                  <c:v>1</c:v>
                </c:pt>
                <c:pt idx="90">
                  <c:v>1</c:v>
                </c:pt>
                <c:pt idx="91">
                  <c:v>0</c:v>
                </c:pt>
                <c:pt idx="92">
                  <c:v>3</c:v>
                </c:pt>
                <c:pt idx="93">
                  <c:v>3</c:v>
                </c:pt>
                <c:pt idx="94">
                  <c:v>2</c:v>
                </c:pt>
                <c:pt idx="95">
                  <c:v>3</c:v>
                </c:pt>
                <c:pt idx="96">
                  <c:v>0</c:v>
                </c:pt>
                <c:pt idx="97">
                  <c:v>2</c:v>
                </c:pt>
                <c:pt idx="98">
                  <c:v>6</c:v>
                </c:pt>
                <c:pt idx="99">
                  <c:v>4</c:v>
                </c:pt>
                <c:pt idx="100">
                  <c:v>3</c:v>
                </c:pt>
                <c:pt idx="101">
                  <c:v>9</c:v>
                </c:pt>
                <c:pt idx="102">
                  <c:v>2</c:v>
                </c:pt>
                <c:pt idx="103">
                  <c:v>5</c:v>
                </c:pt>
                <c:pt idx="104">
                  <c:v>1</c:v>
                </c:pt>
                <c:pt idx="105">
                  <c:v>0</c:v>
                </c:pt>
                <c:pt idx="106">
                  <c:v>2</c:v>
                </c:pt>
                <c:pt idx="107">
                  <c:v>5</c:v>
                </c:pt>
                <c:pt idx="108">
                  <c:v>6</c:v>
                </c:pt>
                <c:pt idx="109">
                  <c:v>6</c:v>
                </c:pt>
                <c:pt idx="110">
                  <c:v>1</c:v>
                </c:pt>
                <c:pt idx="111">
                  <c:v>1</c:v>
                </c:pt>
                <c:pt idx="112">
                  <c:v>3</c:v>
                </c:pt>
                <c:pt idx="113">
                  <c:v>10</c:v>
                </c:pt>
                <c:pt idx="114">
                  <c:v>7</c:v>
                </c:pt>
                <c:pt idx="115">
                  <c:v>7</c:v>
                </c:pt>
                <c:pt idx="116">
                  <c:v>6</c:v>
                </c:pt>
                <c:pt idx="117">
                  <c:v>5</c:v>
                </c:pt>
                <c:pt idx="118">
                  <c:v>8</c:v>
                </c:pt>
                <c:pt idx="119">
                  <c:v>17</c:v>
                </c:pt>
                <c:pt idx="120">
                  <c:v>17</c:v>
                </c:pt>
                <c:pt idx="121">
                  <c:v>13</c:v>
                </c:pt>
                <c:pt idx="122">
                  <c:v>13</c:v>
                </c:pt>
                <c:pt idx="123">
                  <c:v>17</c:v>
                </c:pt>
                <c:pt idx="124">
                  <c:v>15</c:v>
                </c:pt>
                <c:pt idx="125">
                  <c:v>12</c:v>
                </c:pt>
                <c:pt idx="126">
                  <c:v>28</c:v>
                </c:pt>
                <c:pt idx="127">
                  <c:v>20</c:v>
                </c:pt>
                <c:pt idx="128">
                  <c:v>25</c:v>
                </c:pt>
                <c:pt idx="129">
                  <c:v>22</c:v>
                </c:pt>
                <c:pt idx="130">
                  <c:v>38</c:v>
                </c:pt>
                <c:pt idx="131">
                  <c:v>22</c:v>
                </c:pt>
                <c:pt idx="132">
                  <c:v>18</c:v>
                </c:pt>
                <c:pt idx="133">
                  <c:v>57</c:v>
                </c:pt>
                <c:pt idx="134">
                  <c:v>38</c:v>
                </c:pt>
                <c:pt idx="135">
                  <c:v>39</c:v>
                </c:pt>
                <c:pt idx="136">
                  <c:v>27</c:v>
                </c:pt>
                <c:pt idx="137">
                  <c:v>41</c:v>
                </c:pt>
                <c:pt idx="138">
                  <c:v>21</c:v>
                </c:pt>
                <c:pt idx="139">
                  <c:v>19</c:v>
                </c:pt>
                <c:pt idx="140">
                  <c:v>53</c:v>
                </c:pt>
                <c:pt idx="141">
                  <c:v>47</c:v>
                </c:pt>
                <c:pt idx="142">
                  <c:v>47</c:v>
                </c:pt>
                <c:pt idx="143">
                  <c:v>49</c:v>
                </c:pt>
                <c:pt idx="144">
                  <c:v>44</c:v>
                </c:pt>
                <c:pt idx="145">
                  <c:v>49</c:v>
                </c:pt>
                <c:pt idx="146">
                  <c:v>23</c:v>
                </c:pt>
                <c:pt idx="147">
                  <c:v>65</c:v>
                </c:pt>
                <c:pt idx="148">
                  <c:v>61</c:v>
                </c:pt>
                <c:pt idx="149">
                  <c:v>43</c:v>
                </c:pt>
                <c:pt idx="150">
                  <c:v>57</c:v>
                </c:pt>
                <c:pt idx="151">
                  <c:v>83</c:v>
                </c:pt>
                <c:pt idx="152">
                  <c:v>51</c:v>
                </c:pt>
                <c:pt idx="153">
                  <c:v>32</c:v>
                </c:pt>
                <c:pt idx="154">
                  <c:v>64</c:v>
                </c:pt>
                <c:pt idx="155">
                  <c:v>71</c:v>
                </c:pt>
                <c:pt idx="156">
                  <c:v>44</c:v>
                </c:pt>
                <c:pt idx="157">
                  <c:v>70</c:v>
                </c:pt>
                <c:pt idx="158">
                  <c:v>54</c:v>
                </c:pt>
                <c:pt idx="159">
                  <c:v>35</c:v>
                </c:pt>
                <c:pt idx="160">
                  <c:v>40</c:v>
                </c:pt>
                <c:pt idx="161">
                  <c:v>64</c:v>
                </c:pt>
                <c:pt idx="162">
                  <c:v>51</c:v>
                </c:pt>
                <c:pt idx="163">
                  <c:v>58</c:v>
                </c:pt>
                <c:pt idx="164">
                  <c:v>45</c:v>
                </c:pt>
                <c:pt idx="165">
                  <c:v>52</c:v>
                </c:pt>
                <c:pt idx="166">
                  <c:v>27</c:v>
                </c:pt>
                <c:pt idx="167">
                  <c:v>17</c:v>
                </c:pt>
                <c:pt idx="168">
                  <c:v>47</c:v>
                </c:pt>
                <c:pt idx="169">
                  <c:v>45</c:v>
                </c:pt>
                <c:pt idx="170">
                  <c:v>31</c:v>
                </c:pt>
                <c:pt idx="171">
                  <c:v>33</c:v>
                </c:pt>
                <c:pt idx="172">
                  <c:v>34</c:v>
                </c:pt>
                <c:pt idx="173">
                  <c:v>21</c:v>
                </c:pt>
                <c:pt idx="174">
                  <c:v>13</c:v>
                </c:pt>
                <c:pt idx="175">
                  <c:v>29</c:v>
                </c:pt>
                <c:pt idx="176">
                  <c:v>25</c:v>
                </c:pt>
                <c:pt idx="177">
                  <c:v>26</c:v>
                </c:pt>
                <c:pt idx="178">
                  <c:v>16</c:v>
                </c:pt>
                <c:pt idx="179">
                  <c:v>25</c:v>
                </c:pt>
                <c:pt idx="180">
                  <c:v>20</c:v>
                </c:pt>
                <c:pt idx="181">
                  <c:v>15</c:v>
                </c:pt>
                <c:pt idx="182">
                  <c:v>27</c:v>
                </c:pt>
                <c:pt idx="183">
                  <c:v>31</c:v>
                </c:pt>
                <c:pt idx="184">
                  <c:v>22</c:v>
                </c:pt>
                <c:pt idx="185">
                  <c:v>25</c:v>
                </c:pt>
                <c:pt idx="186">
                  <c:v>4</c:v>
                </c:pt>
                <c:pt idx="187">
                  <c:v>12</c:v>
                </c:pt>
                <c:pt idx="188">
                  <c:v>8</c:v>
                </c:pt>
                <c:pt idx="189">
                  <c:v>27</c:v>
                </c:pt>
                <c:pt idx="190">
                  <c:v>34</c:v>
                </c:pt>
                <c:pt idx="191">
                  <c:v>27</c:v>
                </c:pt>
                <c:pt idx="192">
                  <c:v>23</c:v>
                </c:pt>
                <c:pt idx="193">
                  <c:v>22</c:v>
                </c:pt>
                <c:pt idx="194">
                  <c:v>6</c:v>
                </c:pt>
                <c:pt idx="195">
                  <c:v>27</c:v>
                </c:pt>
                <c:pt idx="196">
                  <c:v>41</c:v>
                </c:pt>
                <c:pt idx="197">
                  <c:v>31</c:v>
                </c:pt>
                <c:pt idx="198">
                  <c:v>21</c:v>
                </c:pt>
                <c:pt idx="199">
                  <c:v>26</c:v>
                </c:pt>
                <c:pt idx="200">
                  <c:v>20</c:v>
                </c:pt>
                <c:pt idx="201">
                  <c:v>18</c:v>
                </c:pt>
                <c:pt idx="202">
                  <c:v>16</c:v>
                </c:pt>
                <c:pt idx="203">
                  <c:v>38</c:v>
                </c:pt>
                <c:pt idx="204">
                  <c:v>52</c:v>
                </c:pt>
                <c:pt idx="205">
                  <c:v>80</c:v>
                </c:pt>
                <c:pt idx="206">
                  <c:v>46</c:v>
                </c:pt>
                <c:pt idx="207">
                  <c:v>58</c:v>
                </c:pt>
                <c:pt idx="208">
                  <c:v>41</c:v>
                </c:pt>
                <c:pt idx="209">
                  <c:v>53</c:v>
                </c:pt>
                <c:pt idx="210">
                  <c:v>133</c:v>
                </c:pt>
                <c:pt idx="211">
                  <c:v>112</c:v>
                </c:pt>
                <c:pt idx="212">
                  <c:v>149</c:v>
                </c:pt>
                <c:pt idx="213">
                  <c:v>128</c:v>
                </c:pt>
                <c:pt idx="214">
                  <c:v>107</c:v>
                </c:pt>
                <c:pt idx="215">
                  <c:v>68</c:v>
                </c:pt>
                <c:pt idx="216">
                  <c:v>94</c:v>
                </c:pt>
                <c:pt idx="217">
                  <c:v>203</c:v>
                </c:pt>
                <c:pt idx="218">
                  <c:v>175</c:v>
                </c:pt>
                <c:pt idx="219">
                  <c:v>184</c:v>
                </c:pt>
                <c:pt idx="220">
                  <c:v>211</c:v>
                </c:pt>
                <c:pt idx="221">
                  <c:v>195</c:v>
                </c:pt>
                <c:pt idx="222">
                  <c:v>75</c:v>
                </c:pt>
                <c:pt idx="223">
                  <c:v>120</c:v>
                </c:pt>
                <c:pt idx="224">
                  <c:v>216</c:v>
                </c:pt>
                <c:pt idx="225">
                  <c:v>240</c:v>
                </c:pt>
                <c:pt idx="226">
                  <c:v>180</c:v>
                </c:pt>
                <c:pt idx="227">
                  <c:v>146</c:v>
                </c:pt>
                <c:pt idx="228">
                  <c:v>151</c:v>
                </c:pt>
                <c:pt idx="229">
                  <c:v>90</c:v>
                </c:pt>
                <c:pt idx="230">
                  <c:v>65</c:v>
                </c:pt>
                <c:pt idx="231">
                  <c:v>167</c:v>
                </c:pt>
                <c:pt idx="232">
                  <c:v>140</c:v>
                </c:pt>
                <c:pt idx="233">
                  <c:v>123</c:v>
                </c:pt>
                <c:pt idx="234">
                  <c:v>114</c:v>
                </c:pt>
                <c:pt idx="235">
                  <c:v>108</c:v>
                </c:pt>
                <c:pt idx="236">
                  <c:v>55</c:v>
                </c:pt>
                <c:pt idx="237">
                  <c:v>53</c:v>
                </c:pt>
                <c:pt idx="238">
                  <c:v>163</c:v>
                </c:pt>
                <c:pt idx="239">
                  <c:v>102</c:v>
                </c:pt>
                <c:pt idx="240">
                  <c:v>94</c:v>
                </c:pt>
                <c:pt idx="241">
                  <c:v>75</c:v>
                </c:pt>
                <c:pt idx="242">
                  <c:v>74</c:v>
                </c:pt>
                <c:pt idx="243">
                  <c:v>45</c:v>
                </c:pt>
                <c:pt idx="244">
                  <c:v>46</c:v>
                </c:pt>
                <c:pt idx="245">
                  <c:v>85</c:v>
                </c:pt>
                <c:pt idx="246">
                  <c:v>68</c:v>
                </c:pt>
                <c:pt idx="247">
                  <c:v>63</c:v>
                </c:pt>
                <c:pt idx="248">
                  <c:v>57</c:v>
                </c:pt>
                <c:pt idx="249">
                  <c:v>48</c:v>
                </c:pt>
                <c:pt idx="250">
                  <c:v>33</c:v>
                </c:pt>
                <c:pt idx="251">
                  <c:v>36</c:v>
                </c:pt>
                <c:pt idx="252">
                  <c:v>86</c:v>
                </c:pt>
                <c:pt idx="253">
                  <c:v>54</c:v>
                </c:pt>
                <c:pt idx="254">
                  <c:v>64</c:v>
                </c:pt>
                <c:pt idx="255">
                  <c:v>48</c:v>
                </c:pt>
                <c:pt idx="256">
                  <c:v>53</c:v>
                </c:pt>
                <c:pt idx="257">
                  <c:v>40</c:v>
                </c:pt>
                <c:pt idx="258">
                  <c:v>31</c:v>
                </c:pt>
                <c:pt idx="259">
                  <c:v>89</c:v>
                </c:pt>
                <c:pt idx="260">
                  <c:v>72</c:v>
                </c:pt>
                <c:pt idx="261">
                  <c:v>62</c:v>
                </c:pt>
                <c:pt idx="262">
                  <c:v>54</c:v>
                </c:pt>
                <c:pt idx="263">
                  <c:v>46</c:v>
                </c:pt>
                <c:pt idx="264">
                  <c:v>26</c:v>
                </c:pt>
                <c:pt idx="265">
                  <c:v>30</c:v>
                </c:pt>
                <c:pt idx="266">
                  <c:v>89</c:v>
                </c:pt>
                <c:pt idx="267">
                  <c:v>59</c:v>
                </c:pt>
                <c:pt idx="268">
                  <c:v>61</c:v>
                </c:pt>
                <c:pt idx="269">
                  <c:v>57</c:v>
                </c:pt>
                <c:pt idx="270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C$1</c:f>
              <c:strCache>
                <c:ptCount val="54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8.03</c:v>
                </c:pt>
                <c:pt idx="11">
                  <c:v>19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  <c:pt idx="53">
                  <c:v>31.12 - 31.12</c:v>
                </c:pt>
              </c:strCache>
            </c:strRef>
          </c:cat>
          <c:val>
            <c:numRef>
              <c:f>List1!$B$2:$BC$2</c:f>
              <c:numCache>
                <c:formatCode>General</c:formatCode>
                <c:ptCount val="54"/>
                <c:pt idx="9">
                  <c:v>0.56499999999999995</c:v>
                </c:pt>
                <c:pt idx="10">
                  <c:v>3.1059999999999999</c:v>
                </c:pt>
                <c:pt idx="11">
                  <c:v>10.212</c:v>
                </c:pt>
                <c:pt idx="12">
                  <c:v>13.836</c:v>
                </c:pt>
                <c:pt idx="13">
                  <c:v>8.4730000000000008</c:v>
                </c:pt>
                <c:pt idx="14">
                  <c:v>4.5199999999999996</c:v>
                </c:pt>
                <c:pt idx="15">
                  <c:v>6.5010000000000003</c:v>
                </c:pt>
                <c:pt idx="16">
                  <c:v>3.3929999999999998</c:v>
                </c:pt>
                <c:pt idx="17">
                  <c:v>1.98</c:v>
                </c:pt>
                <c:pt idx="18">
                  <c:v>2.2629999999999999</c:v>
                </c:pt>
                <c:pt idx="19">
                  <c:v>0.84899999999999998</c:v>
                </c:pt>
                <c:pt idx="20">
                  <c:v>0.56599999999999995</c:v>
                </c:pt>
                <c:pt idx="21">
                  <c:v>1.415</c:v>
                </c:pt>
                <c:pt idx="22">
                  <c:v>1.1319999999999999</c:v>
                </c:pt>
                <c:pt idx="23">
                  <c:v>0.84899999999999998</c:v>
                </c:pt>
                <c:pt idx="24">
                  <c:v>1.415</c:v>
                </c:pt>
                <c:pt idx="25">
                  <c:v>1.1319999999999999</c:v>
                </c:pt>
                <c:pt idx="26">
                  <c:v>1.133</c:v>
                </c:pt>
                <c:pt idx="27">
                  <c:v>1.133</c:v>
                </c:pt>
                <c:pt idx="28">
                  <c:v>1.6990000000000001</c:v>
                </c:pt>
                <c:pt idx="29">
                  <c:v>2.548</c:v>
                </c:pt>
                <c:pt idx="30">
                  <c:v>4.2460000000000004</c:v>
                </c:pt>
                <c:pt idx="31">
                  <c:v>3.395</c:v>
                </c:pt>
                <c:pt idx="32">
                  <c:v>7.07</c:v>
                </c:pt>
                <c:pt idx="33">
                  <c:v>6.7839999999999998</c:v>
                </c:pt>
                <c:pt idx="34">
                  <c:v>8.1920000000000002</c:v>
                </c:pt>
                <c:pt idx="35">
                  <c:v>16.353999999999999</c:v>
                </c:pt>
                <c:pt idx="36">
                  <c:v>30.657</c:v>
                </c:pt>
                <c:pt idx="37">
                  <c:v>49.378</c:v>
                </c:pt>
                <c:pt idx="38">
                  <c:v>52.055</c:v>
                </c:pt>
                <c:pt idx="39">
                  <c:v>98.305999999999997</c:v>
                </c:pt>
                <c:pt idx="40">
                  <c:v>188.89500000000001</c:v>
                </c:pt>
                <c:pt idx="41">
                  <c:v>272.91699999999997</c:v>
                </c:pt>
                <c:pt idx="42">
                  <c:v>318.63499999999999</c:v>
                </c:pt>
                <c:pt idx="43">
                  <c:v>202.602</c:v>
                </c:pt>
                <c:pt idx="44">
                  <c:v>147.44</c:v>
                </c:pt>
                <c:pt idx="45">
                  <c:v>92.049000000000007</c:v>
                </c:pt>
                <c:pt idx="46">
                  <c:v>92.296000000000006</c:v>
                </c:pt>
                <c:pt idx="47">
                  <c:v>90.596000000000004</c:v>
                </c:pt>
                <c:pt idx="48">
                  <c:v>111.684</c:v>
                </c:pt>
                <c:pt idx="49">
                  <c:v>136.101</c:v>
                </c:pt>
                <c:pt idx="50">
                  <c:v>178.559</c:v>
                </c:pt>
                <c:pt idx="51">
                  <c:v>197.39699999999999</c:v>
                </c:pt>
                <c:pt idx="52">
                  <c:v>221.518</c:v>
                </c:pt>
                <c:pt idx="53">
                  <c:v>221.514068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49-4946-8B42-18535E6234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C$1</c:f>
              <c:strCache>
                <c:ptCount val="54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8.03</c:v>
                </c:pt>
                <c:pt idx="11">
                  <c:v>19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  <c:pt idx="53">
                  <c:v>31.12 - 31.12</c:v>
                </c:pt>
              </c:strCache>
            </c:strRef>
          </c:cat>
          <c:val>
            <c:numRef>
              <c:f>List1!$B$3:$BC$3</c:f>
              <c:numCache>
                <c:formatCode>General</c:formatCode>
                <c:ptCount val="54"/>
                <c:pt idx="0">
                  <c:v>179.93199999999999</c:v>
                </c:pt>
                <c:pt idx="1">
                  <c:v>126.96599999999999</c:v>
                </c:pt>
                <c:pt idx="2">
                  <c:v>104.517</c:v>
                </c:pt>
                <c:pt idx="3">
                  <c:v>76.204999999999998</c:v>
                </c:pt>
                <c:pt idx="4">
                  <c:v>58.991</c:v>
                </c:pt>
                <c:pt idx="5">
                  <c:v>44.819000000000003</c:v>
                </c:pt>
                <c:pt idx="6">
                  <c:v>40.101999999999997</c:v>
                </c:pt>
                <c:pt idx="7">
                  <c:v>48.198</c:v>
                </c:pt>
                <c:pt idx="8">
                  <c:v>56.857999999999997</c:v>
                </c:pt>
                <c:pt idx="9">
                  <c:v>31.222000000000001</c:v>
                </c:pt>
                <c:pt idx="10">
                  <c:v>31.225000000000001</c:v>
                </c:pt>
                <c:pt idx="11">
                  <c:v>19.516999999999999</c:v>
                </c:pt>
                <c:pt idx="12">
                  <c:v>17.288</c:v>
                </c:pt>
                <c:pt idx="13">
                  <c:v>10.316000000000001</c:v>
                </c:pt>
                <c:pt idx="14">
                  <c:v>8.0830000000000002</c:v>
                </c:pt>
                <c:pt idx="15">
                  <c:v>9.4749999999999996</c:v>
                </c:pt>
                <c:pt idx="16">
                  <c:v>6.6859999999999999</c:v>
                </c:pt>
                <c:pt idx="17">
                  <c:v>6.9640000000000004</c:v>
                </c:pt>
                <c:pt idx="18">
                  <c:v>1.6719999999999999</c:v>
                </c:pt>
                <c:pt idx="19">
                  <c:v>4.18</c:v>
                </c:pt>
                <c:pt idx="20">
                  <c:v>2.5089999999999999</c:v>
                </c:pt>
                <c:pt idx="21">
                  <c:v>2.5089999999999999</c:v>
                </c:pt>
                <c:pt idx="22">
                  <c:v>0.55800000000000005</c:v>
                </c:pt>
                <c:pt idx="23">
                  <c:v>0.27900000000000003</c:v>
                </c:pt>
                <c:pt idx="24">
                  <c:v>0.27900000000000003</c:v>
                </c:pt>
                <c:pt idx="25">
                  <c:v>0</c:v>
                </c:pt>
                <c:pt idx="26">
                  <c:v>0.55800000000000005</c:v>
                </c:pt>
                <c:pt idx="27">
                  <c:v>1.395</c:v>
                </c:pt>
                <c:pt idx="28">
                  <c:v>3.3460000000000001</c:v>
                </c:pt>
                <c:pt idx="29">
                  <c:v>2.7869999999999999</c:v>
                </c:pt>
                <c:pt idx="30">
                  <c:v>2.786</c:v>
                </c:pt>
                <c:pt idx="31">
                  <c:v>2.7839999999999998</c:v>
                </c:pt>
                <c:pt idx="32">
                  <c:v>1.391</c:v>
                </c:pt>
                <c:pt idx="33">
                  <c:v>1.391</c:v>
                </c:pt>
                <c:pt idx="34">
                  <c:v>3.0579999999999998</c:v>
                </c:pt>
                <c:pt idx="35">
                  <c:v>2.2200000000000002</c:v>
                </c:pt>
                <c:pt idx="36">
                  <c:v>3.323</c:v>
                </c:pt>
                <c:pt idx="37">
                  <c:v>3.0390000000000001</c:v>
                </c:pt>
                <c:pt idx="38">
                  <c:v>5.5129999999999999</c:v>
                </c:pt>
                <c:pt idx="39">
                  <c:v>6.6050000000000004</c:v>
                </c:pt>
                <c:pt idx="40">
                  <c:v>9.3550000000000004</c:v>
                </c:pt>
                <c:pt idx="41">
                  <c:v>19.806999999999999</c:v>
                </c:pt>
                <c:pt idx="42">
                  <c:v>34.932000000000002</c:v>
                </c:pt>
                <c:pt idx="43">
                  <c:v>62.427999999999997</c:v>
                </c:pt>
                <c:pt idx="44">
                  <c:v>69.040000000000006</c:v>
                </c:pt>
                <c:pt idx="45">
                  <c:v>88.587000000000003</c:v>
                </c:pt>
                <c:pt idx="46">
                  <c:v>104.29</c:v>
                </c:pt>
                <c:pt idx="47">
                  <c:v>95.78</c:v>
                </c:pt>
                <c:pt idx="48">
                  <c:v>67.179000000000002</c:v>
                </c:pt>
                <c:pt idx="49">
                  <c:v>46.823</c:v>
                </c:pt>
                <c:pt idx="50">
                  <c:v>40.503</c:v>
                </c:pt>
                <c:pt idx="51">
                  <c:v>34.728999999999999</c:v>
                </c:pt>
                <c:pt idx="52">
                  <c:v>37.631999999999998</c:v>
                </c:pt>
                <c:pt idx="53">
                  <c:v>34.7383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49-4946-8B42-18535E6234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60B6-4916-93FC-CDB9D95E3532}"/>
              </c:ext>
            </c:extLst>
          </c:dPt>
          <c:cat>
            <c:strRef>
              <c:f>List1!$B$1:$BC$1</c:f>
              <c:strCache>
                <c:ptCount val="54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8.03</c:v>
                </c:pt>
                <c:pt idx="11">
                  <c:v>19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  <c:pt idx="53">
                  <c:v>31.12 - 31.12</c:v>
                </c:pt>
              </c:strCache>
            </c:strRef>
          </c:cat>
          <c:val>
            <c:numRef>
              <c:f>List1!$B$4:$BC$4</c:f>
              <c:numCache>
                <c:formatCode>General</c:formatCode>
                <c:ptCount val="54"/>
                <c:pt idx="0">
                  <c:v>41.939</c:v>
                </c:pt>
                <c:pt idx="1">
                  <c:v>72.108000000000004</c:v>
                </c:pt>
                <c:pt idx="2">
                  <c:v>159.62299999999999</c:v>
                </c:pt>
                <c:pt idx="3">
                  <c:v>247.64699999999999</c:v>
                </c:pt>
                <c:pt idx="4">
                  <c:v>248.21199999999999</c:v>
                </c:pt>
                <c:pt idx="5">
                  <c:v>174.81899999999999</c:v>
                </c:pt>
                <c:pt idx="6">
                  <c:v>134.93100000000001</c:v>
                </c:pt>
                <c:pt idx="7">
                  <c:v>88.055999999999997</c:v>
                </c:pt>
                <c:pt idx="8">
                  <c:v>83.935000000000002</c:v>
                </c:pt>
                <c:pt idx="9">
                  <c:v>87.847999999999999</c:v>
                </c:pt>
                <c:pt idx="10">
                  <c:v>85.355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49-4946-8B42-18535E6234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0B2-4BBE-A912-02DA2889190D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0B2-4BBE-A912-02DA2889190D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0B2-4BBE-A912-02DA2889190D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0B2-4BBE-A912-02DA2889190D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0B2-4BBE-A912-02DA2889190D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0B2-4BBE-A912-02DA2889190D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0B2-4BBE-A912-02DA2889190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405</c:f>
              <c:numCache>
                <c:formatCode>m/d/yyyy</c:formatCode>
                <c:ptCount val="271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  <c:pt idx="257">
                  <c:v>44625</c:v>
                </c:pt>
                <c:pt idx="258">
                  <c:v>44626</c:v>
                </c:pt>
                <c:pt idx="259">
                  <c:v>44627</c:v>
                </c:pt>
                <c:pt idx="260">
                  <c:v>44628</c:v>
                </c:pt>
                <c:pt idx="261">
                  <c:v>44629</c:v>
                </c:pt>
                <c:pt idx="262">
                  <c:v>44630</c:v>
                </c:pt>
                <c:pt idx="263">
                  <c:v>44631</c:v>
                </c:pt>
                <c:pt idx="264">
                  <c:v>44632</c:v>
                </c:pt>
                <c:pt idx="265">
                  <c:v>44633</c:v>
                </c:pt>
                <c:pt idx="266">
                  <c:v>44634</c:v>
                </c:pt>
                <c:pt idx="267">
                  <c:v>44635</c:v>
                </c:pt>
                <c:pt idx="268">
                  <c:v>44636</c:v>
                </c:pt>
                <c:pt idx="269">
                  <c:v>44637</c:v>
                </c:pt>
                <c:pt idx="270">
                  <c:v>44638</c:v>
                </c:pt>
              </c:numCache>
            </c:numRef>
          </c:cat>
          <c:val>
            <c:numRef>
              <c:f>Sheet1!$B$135:$B$405</c:f>
              <c:numCache>
                <c:formatCode>General</c:formatCode>
                <c:ptCount val="271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0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0</c:v>
                </c:pt>
                <c:pt idx="26">
                  <c:v>0</c:v>
                </c:pt>
                <c:pt idx="27">
                  <c:v>2</c:v>
                </c:pt>
                <c:pt idx="28">
                  <c:v>5</c:v>
                </c:pt>
                <c:pt idx="29">
                  <c:v>1</c:v>
                </c:pt>
                <c:pt idx="30">
                  <c:v>4</c:v>
                </c:pt>
                <c:pt idx="31">
                  <c:v>0</c:v>
                </c:pt>
                <c:pt idx="32">
                  <c:v>4</c:v>
                </c:pt>
                <c:pt idx="33">
                  <c:v>1</c:v>
                </c:pt>
                <c:pt idx="34">
                  <c:v>1</c:v>
                </c:pt>
                <c:pt idx="35">
                  <c:v>3</c:v>
                </c:pt>
                <c:pt idx="36">
                  <c:v>0</c:v>
                </c:pt>
                <c:pt idx="37">
                  <c:v>0</c:v>
                </c:pt>
                <c:pt idx="38">
                  <c:v>2</c:v>
                </c:pt>
                <c:pt idx="39">
                  <c:v>2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2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0</c:v>
                </c:pt>
                <c:pt idx="48">
                  <c:v>0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2</c:v>
                </c:pt>
                <c:pt idx="54">
                  <c:v>3</c:v>
                </c:pt>
                <c:pt idx="55">
                  <c:v>1</c:v>
                </c:pt>
                <c:pt idx="56">
                  <c:v>3</c:v>
                </c:pt>
                <c:pt idx="57">
                  <c:v>3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1</c:v>
                </c:pt>
                <c:pt idx="63">
                  <c:v>5</c:v>
                </c:pt>
                <c:pt idx="64">
                  <c:v>2</c:v>
                </c:pt>
                <c:pt idx="65">
                  <c:v>0</c:v>
                </c:pt>
                <c:pt idx="66">
                  <c:v>2</c:v>
                </c:pt>
                <c:pt idx="67">
                  <c:v>1</c:v>
                </c:pt>
                <c:pt idx="68">
                  <c:v>2</c:v>
                </c:pt>
                <c:pt idx="69">
                  <c:v>1</c:v>
                </c:pt>
                <c:pt idx="70">
                  <c:v>0</c:v>
                </c:pt>
                <c:pt idx="71">
                  <c:v>2</c:v>
                </c:pt>
                <c:pt idx="72">
                  <c:v>1</c:v>
                </c:pt>
                <c:pt idx="73">
                  <c:v>6</c:v>
                </c:pt>
                <c:pt idx="74">
                  <c:v>6</c:v>
                </c:pt>
                <c:pt idx="75">
                  <c:v>1</c:v>
                </c:pt>
                <c:pt idx="76">
                  <c:v>1</c:v>
                </c:pt>
                <c:pt idx="77">
                  <c:v>2</c:v>
                </c:pt>
                <c:pt idx="78">
                  <c:v>6</c:v>
                </c:pt>
                <c:pt idx="79">
                  <c:v>1</c:v>
                </c:pt>
                <c:pt idx="80">
                  <c:v>4</c:v>
                </c:pt>
                <c:pt idx="81">
                  <c:v>0</c:v>
                </c:pt>
                <c:pt idx="82">
                  <c:v>1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8</c:v>
                </c:pt>
                <c:pt idx="88">
                  <c:v>5</c:v>
                </c:pt>
                <c:pt idx="89">
                  <c:v>2</c:v>
                </c:pt>
                <c:pt idx="90">
                  <c:v>2</c:v>
                </c:pt>
                <c:pt idx="91">
                  <c:v>9</c:v>
                </c:pt>
                <c:pt idx="92">
                  <c:v>7</c:v>
                </c:pt>
                <c:pt idx="93">
                  <c:v>5</c:v>
                </c:pt>
                <c:pt idx="94">
                  <c:v>5</c:v>
                </c:pt>
                <c:pt idx="95">
                  <c:v>7</c:v>
                </c:pt>
                <c:pt idx="96">
                  <c:v>6</c:v>
                </c:pt>
                <c:pt idx="97">
                  <c:v>6</c:v>
                </c:pt>
                <c:pt idx="98">
                  <c:v>5</c:v>
                </c:pt>
                <c:pt idx="99">
                  <c:v>9</c:v>
                </c:pt>
                <c:pt idx="100">
                  <c:v>12</c:v>
                </c:pt>
                <c:pt idx="101">
                  <c:v>16</c:v>
                </c:pt>
                <c:pt idx="102">
                  <c:v>8</c:v>
                </c:pt>
                <c:pt idx="103">
                  <c:v>5</c:v>
                </c:pt>
                <c:pt idx="104">
                  <c:v>8</c:v>
                </c:pt>
                <c:pt idx="105">
                  <c:v>10</c:v>
                </c:pt>
                <c:pt idx="106">
                  <c:v>14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5</c:v>
                </c:pt>
                <c:pt idx="111">
                  <c:v>4</c:v>
                </c:pt>
                <c:pt idx="112">
                  <c:v>18</c:v>
                </c:pt>
                <c:pt idx="113">
                  <c:v>19</c:v>
                </c:pt>
                <c:pt idx="114">
                  <c:v>22</c:v>
                </c:pt>
                <c:pt idx="115">
                  <c:v>21</c:v>
                </c:pt>
                <c:pt idx="116">
                  <c:v>17</c:v>
                </c:pt>
                <c:pt idx="117">
                  <c:v>10</c:v>
                </c:pt>
                <c:pt idx="118">
                  <c:v>10</c:v>
                </c:pt>
                <c:pt idx="119">
                  <c:v>35</c:v>
                </c:pt>
                <c:pt idx="120">
                  <c:v>28</c:v>
                </c:pt>
                <c:pt idx="121">
                  <c:v>27</c:v>
                </c:pt>
                <c:pt idx="122">
                  <c:v>53</c:v>
                </c:pt>
                <c:pt idx="123">
                  <c:v>43</c:v>
                </c:pt>
                <c:pt idx="124">
                  <c:v>34</c:v>
                </c:pt>
                <c:pt idx="125">
                  <c:v>12</c:v>
                </c:pt>
                <c:pt idx="126">
                  <c:v>65</c:v>
                </c:pt>
                <c:pt idx="127">
                  <c:v>68</c:v>
                </c:pt>
                <c:pt idx="128">
                  <c:v>75</c:v>
                </c:pt>
                <c:pt idx="129">
                  <c:v>33</c:v>
                </c:pt>
                <c:pt idx="130">
                  <c:v>82</c:v>
                </c:pt>
                <c:pt idx="131">
                  <c:v>62</c:v>
                </c:pt>
                <c:pt idx="132">
                  <c:v>37</c:v>
                </c:pt>
                <c:pt idx="133">
                  <c:v>111</c:v>
                </c:pt>
                <c:pt idx="134">
                  <c:v>103</c:v>
                </c:pt>
                <c:pt idx="135">
                  <c:v>116</c:v>
                </c:pt>
                <c:pt idx="136">
                  <c:v>103</c:v>
                </c:pt>
                <c:pt idx="137">
                  <c:v>109</c:v>
                </c:pt>
                <c:pt idx="138">
                  <c:v>84</c:v>
                </c:pt>
                <c:pt idx="139">
                  <c:v>27</c:v>
                </c:pt>
                <c:pt idx="140">
                  <c:v>134</c:v>
                </c:pt>
                <c:pt idx="141">
                  <c:v>146</c:v>
                </c:pt>
                <c:pt idx="142">
                  <c:v>168</c:v>
                </c:pt>
                <c:pt idx="143">
                  <c:v>97</c:v>
                </c:pt>
                <c:pt idx="144">
                  <c:v>161</c:v>
                </c:pt>
                <c:pt idx="145">
                  <c:v>98</c:v>
                </c:pt>
                <c:pt idx="146">
                  <c:v>54</c:v>
                </c:pt>
                <c:pt idx="147">
                  <c:v>157</c:v>
                </c:pt>
                <c:pt idx="148">
                  <c:v>227</c:v>
                </c:pt>
                <c:pt idx="149">
                  <c:v>122</c:v>
                </c:pt>
                <c:pt idx="150">
                  <c:v>168</c:v>
                </c:pt>
                <c:pt idx="151">
                  <c:v>234</c:v>
                </c:pt>
                <c:pt idx="152">
                  <c:v>155</c:v>
                </c:pt>
                <c:pt idx="153">
                  <c:v>84</c:v>
                </c:pt>
                <c:pt idx="154">
                  <c:v>189</c:v>
                </c:pt>
                <c:pt idx="155">
                  <c:v>256</c:v>
                </c:pt>
                <c:pt idx="156">
                  <c:v>138</c:v>
                </c:pt>
                <c:pt idx="157">
                  <c:v>217</c:v>
                </c:pt>
                <c:pt idx="158">
                  <c:v>184</c:v>
                </c:pt>
                <c:pt idx="159">
                  <c:v>107</c:v>
                </c:pt>
                <c:pt idx="160">
                  <c:v>78</c:v>
                </c:pt>
                <c:pt idx="161">
                  <c:v>206</c:v>
                </c:pt>
                <c:pt idx="162">
                  <c:v>166</c:v>
                </c:pt>
                <c:pt idx="163">
                  <c:v>177</c:v>
                </c:pt>
                <c:pt idx="164">
                  <c:v>150</c:v>
                </c:pt>
                <c:pt idx="165">
                  <c:v>145</c:v>
                </c:pt>
                <c:pt idx="166">
                  <c:v>84</c:v>
                </c:pt>
                <c:pt idx="167">
                  <c:v>67</c:v>
                </c:pt>
                <c:pt idx="168">
                  <c:v>169</c:v>
                </c:pt>
                <c:pt idx="169">
                  <c:v>153</c:v>
                </c:pt>
                <c:pt idx="170">
                  <c:v>119</c:v>
                </c:pt>
                <c:pt idx="171">
                  <c:v>125</c:v>
                </c:pt>
                <c:pt idx="172">
                  <c:v>112</c:v>
                </c:pt>
                <c:pt idx="173">
                  <c:v>73</c:v>
                </c:pt>
                <c:pt idx="174">
                  <c:v>58</c:v>
                </c:pt>
                <c:pt idx="175">
                  <c:v>103</c:v>
                </c:pt>
                <c:pt idx="176">
                  <c:v>126</c:v>
                </c:pt>
                <c:pt idx="177">
                  <c:v>87</c:v>
                </c:pt>
                <c:pt idx="178">
                  <c:v>67</c:v>
                </c:pt>
                <c:pt idx="179">
                  <c:v>81</c:v>
                </c:pt>
                <c:pt idx="180">
                  <c:v>47</c:v>
                </c:pt>
                <c:pt idx="181">
                  <c:v>34</c:v>
                </c:pt>
                <c:pt idx="182">
                  <c:v>90</c:v>
                </c:pt>
                <c:pt idx="183">
                  <c:v>83</c:v>
                </c:pt>
                <c:pt idx="184">
                  <c:v>52</c:v>
                </c:pt>
                <c:pt idx="185">
                  <c:v>59</c:v>
                </c:pt>
                <c:pt idx="186">
                  <c:v>22</c:v>
                </c:pt>
                <c:pt idx="187">
                  <c:v>18</c:v>
                </c:pt>
                <c:pt idx="188">
                  <c:v>19</c:v>
                </c:pt>
                <c:pt idx="189">
                  <c:v>75</c:v>
                </c:pt>
                <c:pt idx="190">
                  <c:v>93</c:v>
                </c:pt>
                <c:pt idx="191">
                  <c:v>56</c:v>
                </c:pt>
                <c:pt idx="192">
                  <c:v>52</c:v>
                </c:pt>
                <c:pt idx="193">
                  <c:v>53</c:v>
                </c:pt>
                <c:pt idx="194">
                  <c:v>12</c:v>
                </c:pt>
                <c:pt idx="195">
                  <c:v>35</c:v>
                </c:pt>
                <c:pt idx="196">
                  <c:v>100</c:v>
                </c:pt>
                <c:pt idx="197">
                  <c:v>81</c:v>
                </c:pt>
                <c:pt idx="198">
                  <c:v>56</c:v>
                </c:pt>
                <c:pt idx="199">
                  <c:v>59</c:v>
                </c:pt>
                <c:pt idx="200">
                  <c:v>66</c:v>
                </c:pt>
                <c:pt idx="201">
                  <c:v>37</c:v>
                </c:pt>
                <c:pt idx="202">
                  <c:v>31</c:v>
                </c:pt>
                <c:pt idx="203">
                  <c:v>72</c:v>
                </c:pt>
                <c:pt idx="204">
                  <c:v>107</c:v>
                </c:pt>
                <c:pt idx="205">
                  <c:v>115</c:v>
                </c:pt>
                <c:pt idx="206">
                  <c:v>98</c:v>
                </c:pt>
                <c:pt idx="207">
                  <c:v>113</c:v>
                </c:pt>
                <c:pt idx="208">
                  <c:v>92</c:v>
                </c:pt>
                <c:pt idx="209">
                  <c:v>66</c:v>
                </c:pt>
                <c:pt idx="210">
                  <c:v>239</c:v>
                </c:pt>
                <c:pt idx="211">
                  <c:v>266</c:v>
                </c:pt>
                <c:pt idx="212">
                  <c:v>287</c:v>
                </c:pt>
                <c:pt idx="213">
                  <c:v>288</c:v>
                </c:pt>
                <c:pt idx="214">
                  <c:v>310</c:v>
                </c:pt>
                <c:pt idx="215">
                  <c:v>172</c:v>
                </c:pt>
                <c:pt idx="216">
                  <c:v>183</c:v>
                </c:pt>
                <c:pt idx="217">
                  <c:v>417</c:v>
                </c:pt>
                <c:pt idx="218">
                  <c:v>381</c:v>
                </c:pt>
                <c:pt idx="219">
                  <c:v>441</c:v>
                </c:pt>
                <c:pt idx="220">
                  <c:v>806</c:v>
                </c:pt>
                <c:pt idx="221">
                  <c:v>605</c:v>
                </c:pt>
                <c:pt idx="222">
                  <c:v>215</c:v>
                </c:pt>
                <c:pt idx="223">
                  <c:v>327</c:v>
                </c:pt>
                <c:pt idx="224">
                  <c:v>634</c:v>
                </c:pt>
                <c:pt idx="225">
                  <c:v>709</c:v>
                </c:pt>
                <c:pt idx="226">
                  <c:v>567</c:v>
                </c:pt>
                <c:pt idx="227">
                  <c:v>546</c:v>
                </c:pt>
                <c:pt idx="228">
                  <c:v>407</c:v>
                </c:pt>
                <c:pt idx="229">
                  <c:v>341</c:v>
                </c:pt>
                <c:pt idx="230">
                  <c:v>175</c:v>
                </c:pt>
                <c:pt idx="231">
                  <c:v>621</c:v>
                </c:pt>
                <c:pt idx="232">
                  <c:v>543</c:v>
                </c:pt>
                <c:pt idx="233">
                  <c:v>426</c:v>
                </c:pt>
                <c:pt idx="234">
                  <c:v>371</c:v>
                </c:pt>
                <c:pt idx="235">
                  <c:v>353</c:v>
                </c:pt>
                <c:pt idx="236">
                  <c:v>197</c:v>
                </c:pt>
                <c:pt idx="237">
                  <c:v>146</c:v>
                </c:pt>
                <c:pt idx="238">
                  <c:v>416</c:v>
                </c:pt>
                <c:pt idx="239">
                  <c:v>414</c:v>
                </c:pt>
                <c:pt idx="240">
                  <c:v>311</c:v>
                </c:pt>
                <c:pt idx="241">
                  <c:v>273</c:v>
                </c:pt>
                <c:pt idx="242">
                  <c:v>241</c:v>
                </c:pt>
                <c:pt idx="243">
                  <c:v>130</c:v>
                </c:pt>
                <c:pt idx="244">
                  <c:v>90</c:v>
                </c:pt>
                <c:pt idx="245">
                  <c:v>302</c:v>
                </c:pt>
                <c:pt idx="246">
                  <c:v>239</c:v>
                </c:pt>
                <c:pt idx="247">
                  <c:v>176</c:v>
                </c:pt>
                <c:pt idx="248">
                  <c:v>167</c:v>
                </c:pt>
                <c:pt idx="249">
                  <c:v>160</c:v>
                </c:pt>
                <c:pt idx="250">
                  <c:v>99</c:v>
                </c:pt>
                <c:pt idx="251">
                  <c:v>74</c:v>
                </c:pt>
                <c:pt idx="252">
                  <c:v>226</c:v>
                </c:pt>
                <c:pt idx="253">
                  <c:v>215</c:v>
                </c:pt>
                <c:pt idx="254">
                  <c:v>158</c:v>
                </c:pt>
                <c:pt idx="255">
                  <c:v>152</c:v>
                </c:pt>
                <c:pt idx="256">
                  <c:v>161</c:v>
                </c:pt>
                <c:pt idx="257">
                  <c:v>98</c:v>
                </c:pt>
                <c:pt idx="258">
                  <c:v>60</c:v>
                </c:pt>
                <c:pt idx="259">
                  <c:v>230</c:v>
                </c:pt>
                <c:pt idx="260">
                  <c:v>170</c:v>
                </c:pt>
                <c:pt idx="261">
                  <c:v>167</c:v>
                </c:pt>
                <c:pt idx="262">
                  <c:v>157</c:v>
                </c:pt>
                <c:pt idx="263">
                  <c:v>148</c:v>
                </c:pt>
                <c:pt idx="264">
                  <c:v>78</c:v>
                </c:pt>
                <c:pt idx="265">
                  <c:v>52</c:v>
                </c:pt>
                <c:pt idx="266">
                  <c:v>220</c:v>
                </c:pt>
                <c:pt idx="267">
                  <c:v>178</c:v>
                </c:pt>
                <c:pt idx="268">
                  <c:v>163</c:v>
                </c:pt>
                <c:pt idx="269">
                  <c:v>151</c:v>
                </c:pt>
                <c:pt idx="270">
                  <c:v>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0B2-4BBE-A912-02DA288919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C$1</c:f>
              <c:strCache>
                <c:ptCount val="54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8.03</c:v>
                </c:pt>
                <c:pt idx="11">
                  <c:v>19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  <c:pt idx="53">
                  <c:v>31.12 - 31.12</c:v>
                </c:pt>
              </c:strCache>
            </c:strRef>
          </c:cat>
          <c:val>
            <c:numRef>
              <c:f>List1!$B$2:$BC$2</c:f>
              <c:numCache>
                <c:formatCode>General</c:formatCode>
                <c:ptCount val="54"/>
                <c:pt idx="9">
                  <c:v>0</c:v>
                </c:pt>
                <c:pt idx="10">
                  <c:v>1.409</c:v>
                </c:pt>
                <c:pt idx="11">
                  <c:v>4.2750000000000004</c:v>
                </c:pt>
                <c:pt idx="12">
                  <c:v>10.429</c:v>
                </c:pt>
                <c:pt idx="13">
                  <c:v>14.941000000000001</c:v>
                </c:pt>
                <c:pt idx="14">
                  <c:v>7.4720000000000004</c:v>
                </c:pt>
                <c:pt idx="15">
                  <c:v>7.8959999999999999</c:v>
                </c:pt>
                <c:pt idx="16">
                  <c:v>4.6539999999999999</c:v>
                </c:pt>
                <c:pt idx="17">
                  <c:v>5.0780000000000003</c:v>
                </c:pt>
                <c:pt idx="18">
                  <c:v>2.9620000000000002</c:v>
                </c:pt>
                <c:pt idx="19">
                  <c:v>0.84599999999999997</c:v>
                </c:pt>
                <c:pt idx="20">
                  <c:v>0.70499999999999996</c:v>
                </c:pt>
                <c:pt idx="21">
                  <c:v>1.552</c:v>
                </c:pt>
                <c:pt idx="22">
                  <c:v>1.6930000000000001</c:v>
                </c:pt>
                <c:pt idx="23">
                  <c:v>2.1160000000000001</c:v>
                </c:pt>
                <c:pt idx="24">
                  <c:v>1.9750000000000001</c:v>
                </c:pt>
                <c:pt idx="25">
                  <c:v>1.129</c:v>
                </c:pt>
                <c:pt idx="26">
                  <c:v>1.9750000000000001</c:v>
                </c:pt>
                <c:pt idx="27">
                  <c:v>3.2450000000000001</c:v>
                </c:pt>
                <c:pt idx="28">
                  <c:v>2.5390000000000001</c:v>
                </c:pt>
                <c:pt idx="29">
                  <c:v>5.36</c:v>
                </c:pt>
                <c:pt idx="30">
                  <c:v>3.6669999999999998</c:v>
                </c:pt>
                <c:pt idx="31">
                  <c:v>3.5259999999999998</c:v>
                </c:pt>
                <c:pt idx="32">
                  <c:v>5.359</c:v>
                </c:pt>
                <c:pt idx="33">
                  <c:v>5.2169999999999996</c:v>
                </c:pt>
                <c:pt idx="34">
                  <c:v>9.1649999999999991</c:v>
                </c:pt>
                <c:pt idx="35">
                  <c:v>14.369</c:v>
                </c:pt>
                <c:pt idx="36">
                  <c:v>29.405000000000001</c:v>
                </c:pt>
                <c:pt idx="37">
                  <c:v>38.219000000000001</c:v>
                </c:pt>
                <c:pt idx="38">
                  <c:v>55.01</c:v>
                </c:pt>
                <c:pt idx="39">
                  <c:v>92.632999999999996</c:v>
                </c:pt>
                <c:pt idx="40">
                  <c:v>198.084</c:v>
                </c:pt>
                <c:pt idx="41">
                  <c:v>333.37900000000002</c:v>
                </c:pt>
                <c:pt idx="42">
                  <c:v>470.48500000000001</c:v>
                </c:pt>
                <c:pt idx="43">
                  <c:v>366.447</c:v>
                </c:pt>
                <c:pt idx="44">
                  <c:v>283.82600000000002</c:v>
                </c:pt>
                <c:pt idx="45">
                  <c:v>184.10599999999999</c:v>
                </c:pt>
                <c:pt idx="46">
                  <c:v>177.24199999999999</c:v>
                </c:pt>
                <c:pt idx="47">
                  <c:v>134.53200000000001</c:v>
                </c:pt>
                <c:pt idx="48">
                  <c:v>166.458</c:v>
                </c:pt>
                <c:pt idx="49">
                  <c:v>167.137</c:v>
                </c:pt>
                <c:pt idx="50">
                  <c:v>194.006</c:v>
                </c:pt>
                <c:pt idx="51">
                  <c:v>199.227</c:v>
                </c:pt>
                <c:pt idx="52">
                  <c:v>299.76900000000001</c:v>
                </c:pt>
                <c:pt idx="53">
                  <c:v>246.96618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C63-4AAB-97B9-1EE2E94FBFD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C$1</c:f>
              <c:strCache>
                <c:ptCount val="54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8.03</c:v>
                </c:pt>
                <c:pt idx="11">
                  <c:v>19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  <c:pt idx="53">
                  <c:v>31.12 - 31.12</c:v>
                </c:pt>
              </c:strCache>
            </c:strRef>
          </c:cat>
          <c:val>
            <c:numRef>
              <c:f>List1!$B$3:$BC$3</c:f>
              <c:numCache>
                <c:formatCode>General</c:formatCode>
                <c:ptCount val="54"/>
                <c:pt idx="0">
                  <c:v>242.91499999999999</c:v>
                </c:pt>
                <c:pt idx="1">
                  <c:v>181.173</c:v>
                </c:pt>
                <c:pt idx="2">
                  <c:v>147.89699999999999</c:v>
                </c:pt>
                <c:pt idx="3">
                  <c:v>113.741</c:v>
                </c:pt>
                <c:pt idx="4">
                  <c:v>93.126999999999995</c:v>
                </c:pt>
                <c:pt idx="5">
                  <c:v>89.385999999999996</c:v>
                </c:pt>
                <c:pt idx="6">
                  <c:v>89.111999999999995</c:v>
                </c:pt>
                <c:pt idx="7">
                  <c:v>103.13500000000001</c:v>
                </c:pt>
                <c:pt idx="8">
                  <c:v>105.626</c:v>
                </c:pt>
                <c:pt idx="9">
                  <c:v>90.869</c:v>
                </c:pt>
                <c:pt idx="10">
                  <c:v>79.034000000000006</c:v>
                </c:pt>
                <c:pt idx="11">
                  <c:v>60.47</c:v>
                </c:pt>
                <c:pt idx="12">
                  <c:v>42.524999999999999</c:v>
                </c:pt>
                <c:pt idx="13">
                  <c:v>35.85</c:v>
                </c:pt>
                <c:pt idx="14">
                  <c:v>22.956</c:v>
                </c:pt>
                <c:pt idx="15">
                  <c:v>19.067</c:v>
                </c:pt>
                <c:pt idx="16">
                  <c:v>8.8350000000000009</c:v>
                </c:pt>
                <c:pt idx="17">
                  <c:v>11.587999999999999</c:v>
                </c:pt>
                <c:pt idx="18">
                  <c:v>8.9700000000000006</c:v>
                </c:pt>
                <c:pt idx="19">
                  <c:v>4.4180000000000001</c:v>
                </c:pt>
                <c:pt idx="20">
                  <c:v>3.5910000000000002</c:v>
                </c:pt>
                <c:pt idx="21">
                  <c:v>1.52</c:v>
                </c:pt>
                <c:pt idx="22">
                  <c:v>1.52</c:v>
                </c:pt>
                <c:pt idx="23">
                  <c:v>0.69099999999999995</c:v>
                </c:pt>
                <c:pt idx="24">
                  <c:v>1.1060000000000001</c:v>
                </c:pt>
                <c:pt idx="25">
                  <c:v>0.69099999999999995</c:v>
                </c:pt>
                <c:pt idx="26">
                  <c:v>1.105</c:v>
                </c:pt>
                <c:pt idx="27">
                  <c:v>1.242</c:v>
                </c:pt>
                <c:pt idx="28">
                  <c:v>1.5169999999999999</c:v>
                </c:pt>
                <c:pt idx="29">
                  <c:v>1.24</c:v>
                </c:pt>
                <c:pt idx="30">
                  <c:v>1.101</c:v>
                </c:pt>
                <c:pt idx="31">
                  <c:v>0.96399999999999997</c:v>
                </c:pt>
                <c:pt idx="32">
                  <c:v>2.0659999999999998</c:v>
                </c:pt>
                <c:pt idx="33">
                  <c:v>0.96399999999999997</c:v>
                </c:pt>
                <c:pt idx="34">
                  <c:v>1.24</c:v>
                </c:pt>
                <c:pt idx="35">
                  <c:v>2.8929999999999998</c:v>
                </c:pt>
                <c:pt idx="36">
                  <c:v>2.34</c:v>
                </c:pt>
                <c:pt idx="37">
                  <c:v>4.9509999999999996</c:v>
                </c:pt>
                <c:pt idx="38">
                  <c:v>6.5960000000000001</c:v>
                </c:pt>
                <c:pt idx="39">
                  <c:v>9.0640000000000001</c:v>
                </c:pt>
                <c:pt idx="40">
                  <c:v>10.987</c:v>
                </c:pt>
                <c:pt idx="41">
                  <c:v>18.815000000000001</c:v>
                </c:pt>
                <c:pt idx="42">
                  <c:v>43.947000000000003</c:v>
                </c:pt>
                <c:pt idx="43">
                  <c:v>69.628</c:v>
                </c:pt>
                <c:pt idx="44">
                  <c:v>98.885999999999996</c:v>
                </c:pt>
                <c:pt idx="45">
                  <c:v>116.19799999999999</c:v>
                </c:pt>
                <c:pt idx="46">
                  <c:v>154.803</c:v>
                </c:pt>
                <c:pt idx="47">
                  <c:v>143.55099999999999</c:v>
                </c:pt>
                <c:pt idx="48">
                  <c:v>110.361</c:v>
                </c:pt>
                <c:pt idx="49">
                  <c:v>85.816999999999993</c:v>
                </c:pt>
                <c:pt idx="50">
                  <c:v>56.698999999999998</c:v>
                </c:pt>
                <c:pt idx="51">
                  <c:v>43.103999999999999</c:v>
                </c:pt>
                <c:pt idx="52">
                  <c:v>42.914999999999999</c:v>
                </c:pt>
                <c:pt idx="53">
                  <c:v>41.4705654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C63-4AAB-97B9-1EE2E94FBFD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BC63-4AAB-97B9-1EE2E94FBFD2}"/>
              </c:ext>
            </c:extLst>
          </c:dPt>
          <c:cat>
            <c:strRef>
              <c:f>List1!$B$1:$BC$1</c:f>
              <c:strCache>
                <c:ptCount val="54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8.03</c:v>
                </c:pt>
                <c:pt idx="11">
                  <c:v>19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  <c:pt idx="53">
                  <c:v>31.12 - 31.12</c:v>
                </c:pt>
              </c:strCache>
            </c:strRef>
          </c:cat>
          <c:val>
            <c:numRef>
              <c:f>List1!$B$4:$BC$4</c:f>
              <c:numCache>
                <c:formatCode>General</c:formatCode>
                <c:ptCount val="54"/>
                <c:pt idx="0">
                  <c:v>46.768000000000001</c:v>
                </c:pt>
                <c:pt idx="1">
                  <c:v>60.151000000000003</c:v>
                </c:pt>
                <c:pt idx="2">
                  <c:v>156.065</c:v>
                </c:pt>
                <c:pt idx="3">
                  <c:v>286.18299999999999</c:v>
                </c:pt>
                <c:pt idx="4">
                  <c:v>325.29700000000003</c:v>
                </c:pt>
                <c:pt idx="5">
                  <c:v>271.71600000000001</c:v>
                </c:pt>
                <c:pt idx="6">
                  <c:v>198.126</c:v>
                </c:pt>
                <c:pt idx="7">
                  <c:v>120.71</c:v>
                </c:pt>
                <c:pt idx="8">
                  <c:v>104.869</c:v>
                </c:pt>
                <c:pt idx="9">
                  <c:v>102.254</c:v>
                </c:pt>
                <c:pt idx="10">
                  <c:v>98.09099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C63-4AAB-97B9-1EE2E94FBF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405</c:f>
              <c:numCache>
                <c:formatCode>m/d/yyyy</c:formatCode>
                <c:ptCount val="271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  <c:pt idx="257">
                  <c:v>44625</c:v>
                </c:pt>
                <c:pt idx="258">
                  <c:v>44626</c:v>
                </c:pt>
                <c:pt idx="259">
                  <c:v>44627</c:v>
                </c:pt>
                <c:pt idx="260">
                  <c:v>44628</c:v>
                </c:pt>
                <c:pt idx="261">
                  <c:v>44629</c:v>
                </c:pt>
                <c:pt idx="262">
                  <c:v>44630</c:v>
                </c:pt>
                <c:pt idx="263">
                  <c:v>44631</c:v>
                </c:pt>
                <c:pt idx="264">
                  <c:v>44632</c:v>
                </c:pt>
                <c:pt idx="265">
                  <c:v>44633</c:v>
                </c:pt>
                <c:pt idx="266">
                  <c:v>44634</c:v>
                </c:pt>
                <c:pt idx="267">
                  <c:v>44635</c:v>
                </c:pt>
                <c:pt idx="268">
                  <c:v>44636</c:v>
                </c:pt>
                <c:pt idx="269">
                  <c:v>44637</c:v>
                </c:pt>
                <c:pt idx="270">
                  <c:v>44638</c:v>
                </c:pt>
              </c:numCache>
            </c:numRef>
          </c:cat>
          <c:val>
            <c:numRef>
              <c:f>Sheet1!$B$135:$B$405</c:f>
              <c:numCache>
                <c:formatCode>General</c:formatCode>
                <c:ptCount val="271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5</c:v>
                </c:pt>
                <c:pt idx="18">
                  <c:v>4</c:v>
                </c:pt>
                <c:pt idx="19">
                  <c:v>0</c:v>
                </c:pt>
                <c:pt idx="20">
                  <c:v>1</c:v>
                </c:pt>
                <c:pt idx="21">
                  <c:v>2</c:v>
                </c:pt>
                <c:pt idx="22">
                  <c:v>0</c:v>
                </c:pt>
                <c:pt idx="23">
                  <c:v>4</c:v>
                </c:pt>
                <c:pt idx="24">
                  <c:v>2</c:v>
                </c:pt>
                <c:pt idx="25">
                  <c:v>5</c:v>
                </c:pt>
                <c:pt idx="26">
                  <c:v>1</c:v>
                </c:pt>
                <c:pt idx="27">
                  <c:v>1</c:v>
                </c:pt>
                <c:pt idx="28">
                  <c:v>4</c:v>
                </c:pt>
                <c:pt idx="29">
                  <c:v>5</c:v>
                </c:pt>
                <c:pt idx="30">
                  <c:v>1</c:v>
                </c:pt>
                <c:pt idx="31">
                  <c:v>3</c:v>
                </c:pt>
                <c:pt idx="32">
                  <c:v>2</c:v>
                </c:pt>
                <c:pt idx="33">
                  <c:v>0</c:v>
                </c:pt>
                <c:pt idx="34">
                  <c:v>2</c:v>
                </c:pt>
                <c:pt idx="35">
                  <c:v>3</c:v>
                </c:pt>
                <c:pt idx="36">
                  <c:v>3</c:v>
                </c:pt>
                <c:pt idx="37">
                  <c:v>1</c:v>
                </c:pt>
                <c:pt idx="38">
                  <c:v>4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2</c:v>
                </c:pt>
                <c:pt idx="43">
                  <c:v>4</c:v>
                </c:pt>
                <c:pt idx="44">
                  <c:v>2</c:v>
                </c:pt>
                <c:pt idx="45">
                  <c:v>1</c:v>
                </c:pt>
                <c:pt idx="46">
                  <c:v>4</c:v>
                </c:pt>
                <c:pt idx="47">
                  <c:v>1</c:v>
                </c:pt>
                <c:pt idx="48">
                  <c:v>0</c:v>
                </c:pt>
                <c:pt idx="49">
                  <c:v>8</c:v>
                </c:pt>
                <c:pt idx="50">
                  <c:v>1</c:v>
                </c:pt>
                <c:pt idx="51">
                  <c:v>1</c:v>
                </c:pt>
                <c:pt idx="52">
                  <c:v>2</c:v>
                </c:pt>
                <c:pt idx="53">
                  <c:v>7</c:v>
                </c:pt>
                <c:pt idx="54">
                  <c:v>2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0</c:v>
                </c:pt>
                <c:pt idx="60">
                  <c:v>3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3</c:v>
                </c:pt>
                <c:pt idx="65">
                  <c:v>5</c:v>
                </c:pt>
                <c:pt idx="66">
                  <c:v>2</c:v>
                </c:pt>
                <c:pt idx="67">
                  <c:v>2</c:v>
                </c:pt>
                <c:pt idx="68">
                  <c:v>0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2</c:v>
                </c:pt>
                <c:pt idx="73">
                  <c:v>5</c:v>
                </c:pt>
                <c:pt idx="74">
                  <c:v>6</c:v>
                </c:pt>
                <c:pt idx="75">
                  <c:v>5</c:v>
                </c:pt>
                <c:pt idx="76">
                  <c:v>1</c:v>
                </c:pt>
                <c:pt idx="77">
                  <c:v>5</c:v>
                </c:pt>
                <c:pt idx="78">
                  <c:v>4</c:v>
                </c:pt>
                <c:pt idx="79">
                  <c:v>1</c:v>
                </c:pt>
                <c:pt idx="80">
                  <c:v>3</c:v>
                </c:pt>
                <c:pt idx="81">
                  <c:v>2</c:v>
                </c:pt>
                <c:pt idx="82">
                  <c:v>0</c:v>
                </c:pt>
                <c:pt idx="83">
                  <c:v>3</c:v>
                </c:pt>
                <c:pt idx="84">
                  <c:v>2</c:v>
                </c:pt>
                <c:pt idx="85">
                  <c:v>3</c:v>
                </c:pt>
                <c:pt idx="86">
                  <c:v>5</c:v>
                </c:pt>
                <c:pt idx="87">
                  <c:v>8</c:v>
                </c:pt>
                <c:pt idx="88">
                  <c:v>4</c:v>
                </c:pt>
                <c:pt idx="89">
                  <c:v>2</c:v>
                </c:pt>
                <c:pt idx="90">
                  <c:v>6</c:v>
                </c:pt>
                <c:pt idx="91">
                  <c:v>8</c:v>
                </c:pt>
                <c:pt idx="92">
                  <c:v>9</c:v>
                </c:pt>
                <c:pt idx="93">
                  <c:v>8</c:v>
                </c:pt>
                <c:pt idx="94">
                  <c:v>7</c:v>
                </c:pt>
                <c:pt idx="95">
                  <c:v>5</c:v>
                </c:pt>
                <c:pt idx="96">
                  <c:v>4</c:v>
                </c:pt>
                <c:pt idx="97">
                  <c:v>2</c:v>
                </c:pt>
                <c:pt idx="98">
                  <c:v>7</c:v>
                </c:pt>
                <c:pt idx="99">
                  <c:v>6</c:v>
                </c:pt>
                <c:pt idx="100">
                  <c:v>9</c:v>
                </c:pt>
                <c:pt idx="101">
                  <c:v>12</c:v>
                </c:pt>
                <c:pt idx="102">
                  <c:v>11</c:v>
                </c:pt>
                <c:pt idx="103">
                  <c:v>4</c:v>
                </c:pt>
                <c:pt idx="104">
                  <c:v>6</c:v>
                </c:pt>
                <c:pt idx="105">
                  <c:v>10</c:v>
                </c:pt>
                <c:pt idx="106">
                  <c:v>13</c:v>
                </c:pt>
                <c:pt idx="107">
                  <c:v>13</c:v>
                </c:pt>
                <c:pt idx="108">
                  <c:v>15</c:v>
                </c:pt>
                <c:pt idx="109">
                  <c:v>11</c:v>
                </c:pt>
                <c:pt idx="110">
                  <c:v>8</c:v>
                </c:pt>
                <c:pt idx="111">
                  <c:v>5</c:v>
                </c:pt>
                <c:pt idx="112">
                  <c:v>19</c:v>
                </c:pt>
                <c:pt idx="113">
                  <c:v>31</c:v>
                </c:pt>
                <c:pt idx="114">
                  <c:v>19</c:v>
                </c:pt>
                <c:pt idx="115">
                  <c:v>19</c:v>
                </c:pt>
                <c:pt idx="116">
                  <c:v>14</c:v>
                </c:pt>
                <c:pt idx="117">
                  <c:v>9</c:v>
                </c:pt>
                <c:pt idx="118">
                  <c:v>12</c:v>
                </c:pt>
                <c:pt idx="119">
                  <c:v>39</c:v>
                </c:pt>
                <c:pt idx="120">
                  <c:v>56</c:v>
                </c:pt>
                <c:pt idx="121">
                  <c:v>48</c:v>
                </c:pt>
                <c:pt idx="122">
                  <c:v>54</c:v>
                </c:pt>
                <c:pt idx="123">
                  <c:v>46</c:v>
                </c:pt>
                <c:pt idx="124">
                  <c:v>28</c:v>
                </c:pt>
                <c:pt idx="125">
                  <c:v>22</c:v>
                </c:pt>
                <c:pt idx="126">
                  <c:v>81</c:v>
                </c:pt>
                <c:pt idx="127">
                  <c:v>88</c:v>
                </c:pt>
                <c:pt idx="128">
                  <c:v>64</c:v>
                </c:pt>
                <c:pt idx="129">
                  <c:v>43</c:v>
                </c:pt>
                <c:pt idx="130">
                  <c:v>82</c:v>
                </c:pt>
                <c:pt idx="131">
                  <c:v>55</c:v>
                </c:pt>
                <c:pt idx="132">
                  <c:v>42</c:v>
                </c:pt>
                <c:pt idx="133">
                  <c:v>135</c:v>
                </c:pt>
                <c:pt idx="134">
                  <c:v>129</c:v>
                </c:pt>
                <c:pt idx="135">
                  <c:v>108</c:v>
                </c:pt>
                <c:pt idx="136">
                  <c:v>114</c:v>
                </c:pt>
                <c:pt idx="137">
                  <c:v>133</c:v>
                </c:pt>
                <c:pt idx="138">
                  <c:v>55</c:v>
                </c:pt>
                <c:pt idx="139">
                  <c:v>40</c:v>
                </c:pt>
                <c:pt idx="140">
                  <c:v>130</c:v>
                </c:pt>
                <c:pt idx="141">
                  <c:v>146</c:v>
                </c:pt>
                <c:pt idx="142">
                  <c:v>148</c:v>
                </c:pt>
                <c:pt idx="143">
                  <c:v>121</c:v>
                </c:pt>
                <c:pt idx="144">
                  <c:v>172</c:v>
                </c:pt>
                <c:pt idx="145">
                  <c:v>93</c:v>
                </c:pt>
                <c:pt idx="146">
                  <c:v>53</c:v>
                </c:pt>
                <c:pt idx="147">
                  <c:v>166</c:v>
                </c:pt>
                <c:pt idx="148">
                  <c:v>199</c:v>
                </c:pt>
                <c:pt idx="149">
                  <c:v>143</c:v>
                </c:pt>
                <c:pt idx="150">
                  <c:v>165</c:v>
                </c:pt>
                <c:pt idx="151">
                  <c:v>260</c:v>
                </c:pt>
                <c:pt idx="152">
                  <c:v>124</c:v>
                </c:pt>
                <c:pt idx="153">
                  <c:v>89</c:v>
                </c:pt>
                <c:pt idx="154">
                  <c:v>204</c:v>
                </c:pt>
                <c:pt idx="155">
                  <c:v>219</c:v>
                </c:pt>
                <c:pt idx="156">
                  <c:v>185</c:v>
                </c:pt>
                <c:pt idx="157">
                  <c:v>263</c:v>
                </c:pt>
                <c:pt idx="158">
                  <c:v>158</c:v>
                </c:pt>
                <c:pt idx="159">
                  <c:v>118</c:v>
                </c:pt>
                <c:pt idx="160">
                  <c:v>85</c:v>
                </c:pt>
                <c:pt idx="161">
                  <c:v>207</c:v>
                </c:pt>
                <c:pt idx="162">
                  <c:v>199</c:v>
                </c:pt>
                <c:pt idx="163">
                  <c:v>172</c:v>
                </c:pt>
                <c:pt idx="164">
                  <c:v>134</c:v>
                </c:pt>
                <c:pt idx="165">
                  <c:v>161</c:v>
                </c:pt>
                <c:pt idx="166">
                  <c:v>99</c:v>
                </c:pt>
                <c:pt idx="167">
                  <c:v>65</c:v>
                </c:pt>
                <c:pt idx="168">
                  <c:v>197</c:v>
                </c:pt>
                <c:pt idx="169">
                  <c:v>167</c:v>
                </c:pt>
                <c:pt idx="170">
                  <c:v>141</c:v>
                </c:pt>
                <c:pt idx="171">
                  <c:v>117</c:v>
                </c:pt>
                <c:pt idx="172">
                  <c:v>100</c:v>
                </c:pt>
                <c:pt idx="173">
                  <c:v>79</c:v>
                </c:pt>
                <c:pt idx="174">
                  <c:v>63</c:v>
                </c:pt>
                <c:pt idx="175">
                  <c:v>123</c:v>
                </c:pt>
                <c:pt idx="176">
                  <c:v>174</c:v>
                </c:pt>
                <c:pt idx="177">
                  <c:v>96</c:v>
                </c:pt>
                <c:pt idx="178">
                  <c:v>90</c:v>
                </c:pt>
                <c:pt idx="179">
                  <c:v>97</c:v>
                </c:pt>
                <c:pt idx="180">
                  <c:v>63</c:v>
                </c:pt>
                <c:pt idx="181">
                  <c:v>43</c:v>
                </c:pt>
                <c:pt idx="182">
                  <c:v>107</c:v>
                </c:pt>
                <c:pt idx="183">
                  <c:v>99</c:v>
                </c:pt>
                <c:pt idx="184">
                  <c:v>45</c:v>
                </c:pt>
                <c:pt idx="185">
                  <c:v>78</c:v>
                </c:pt>
                <c:pt idx="186">
                  <c:v>22</c:v>
                </c:pt>
                <c:pt idx="187">
                  <c:v>14</c:v>
                </c:pt>
                <c:pt idx="188">
                  <c:v>22</c:v>
                </c:pt>
                <c:pt idx="189">
                  <c:v>70</c:v>
                </c:pt>
                <c:pt idx="190">
                  <c:v>94</c:v>
                </c:pt>
                <c:pt idx="191">
                  <c:v>67</c:v>
                </c:pt>
                <c:pt idx="192">
                  <c:v>64</c:v>
                </c:pt>
                <c:pt idx="193">
                  <c:v>76</c:v>
                </c:pt>
                <c:pt idx="194">
                  <c:v>15</c:v>
                </c:pt>
                <c:pt idx="195">
                  <c:v>28</c:v>
                </c:pt>
                <c:pt idx="196">
                  <c:v>101</c:v>
                </c:pt>
                <c:pt idx="197">
                  <c:v>97</c:v>
                </c:pt>
                <c:pt idx="198">
                  <c:v>86</c:v>
                </c:pt>
                <c:pt idx="199">
                  <c:v>78</c:v>
                </c:pt>
                <c:pt idx="200">
                  <c:v>78</c:v>
                </c:pt>
                <c:pt idx="201">
                  <c:v>35</c:v>
                </c:pt>
                <c:pt idx="202">
                  <c:v>28</c:v>
                </c:pt>
                <c:pt idx="203">
                  <c:v>83</c:v>
                </c:pt>
                <c:pt idx="204">
                  <c:v>115</c:v>
                </c:pt>
                <c:pt idx="205">
                  <c:v>115</c:v>
                </c:pt>
                <c:pt idx="206">
                  <c:v>95</c:v>
                </c:pt>
                <c:pt idx="207">
                  <c:v>112</c:v>
                </c:pt>
                <c:pt idx="208">
                  <c:v>79</c:v>
                </c:pt>
                <c:pt idx="209">
                  <c:v>68</c:v>
                </c:pt>
                <c:pt idx="210">
                  <c:v>212</c:v>
                </c:pt>
                <c:pt idx="211">
                  <c:v>248</c:v>
                </c:pt>
                <c:pt idx="212">
                  <c:v>305</c:v>
                </c:pt>
                <c:pt idx="213">
                  <c:v>297</c:v>
                </c:pt>
                <c:pt idx="214">
                  <c:v>263</c:v>
                </c:pt>
                <c:pt idx="215">
                  <c:v>174</c:v>
                </c:pt>
                <c:pt idx="216">
                  <c:v>166</c:v>
                </c:pt>
                <c:pt idx="217">
                  <c:v>370</c:v>
                </c:pt>
                <c:pt idx="218">
                  <c:v>358</c:v>
                </c:pt>
                <c:pt idx="219">
                  <c:v>451</c:v>
                </c:pt>
                <c:pt idx="220">
                  <c:v>644</c:v>
                </c:pt>
                <c:pt idx="221">
                  <c:v>543</c:v>
                </c:pt>
                <c:pt idx="222">
                  <c:v>222</c:v>
                </c:pt>
                <c:pt idx="223">
                  <c:v>240</c:v>
                </c:pt>
                <c:pt idx="224">
                  <c:v>515</c:v>
                </c:pt>
                <c:pt idx="225">
                  <c:v>657</c:v>
                </c:pt>
                <c:pt idx="226">
                  <c:v>515</c:v>
                </c:pt>
                <c:pt idx="227">
                  <c:v>484</c:v>
                </c:pt>
                <c:pt idx="228">
                  <c:v>411</c:v>
                </c:pt>
                <c:pt idx="229">
                  <c:v>268</c:v>
                </c:pt>
                <c:pt idx="230">
                  <c:v>147</c:v>
                </c:pt>
                <c:pt idx="231">
                  <c:v>574</c:v>
                </c:pt>
                <c:pt idx="232">
                  <c:v>486</c:v>
                </c:pt>
                <c:pt idx="233">
                  <c:v>411</c:v>
                </c:pt>
                <c:pt idx="234">
                  <c:v>359</c:v>
                </c:pt>
                <c:pt idx="235">
                  <c:v>311</c:v>
                </c:pt>
                <c:pt idx="236">
                  <c:v>159</c:v>
                </c:pt>
                <c:pt idx="237">
                  <c:v>123</c:v>
                </c:pt>
                <c:pt idx="238">
                  <c:v>323</c:v>
                </c:pt>
                <c:pt idx="239">
                  <c:v>374</c:v>
                </c:pt>
                <c:pt idx="240">
                  <c:v>250</c:v>
                </c:pt>
                <c:pt idx="241">
                  <c:v>233</c:v>
                </c:pt>
                <c:pt idx="242">
                  <c:v>197</c:v>
                </c:pt>
                <c:pt idx="243">
                  <c:v>108</c:v>
                </c:pt>
                <c:pt idx="244">
                  <c:v>70</c:v>
                </c:pt>
                <c:pt idx="245">
                  <c:v>260</c:v>
                </c:pt>
                <c:pt idx="246">
                  <c:v>211</c:v>
                </c:pt>
                <c:pt idx="247">
                  <c:v>160</c:v>
                </c:pt>
                <c:pt idx="248">
                  <c:v>171</c:v>
                </c:pt>
                <c:pt idx="249">
                  <c:v>133</c:v>
                </c:pt>
                <c:pt idx="250">
                  <c:v>85</c:v>
                </c:pt>
                <c:pt idx="251">
                  <c:v>52</c:v>
                </c:pt>
                <c:pt idx="252">
                  <c:v>218</c:v>
                </c:pt>
                <c:pt idx="253">
                  <c:v>182</c:v>
                </c:pt>
                <c:pt idx="254">
                  <c:v>147</c:v>
                </c:pt>
                <c:pt idx="255">
                  <c:v>124</c:v>
                </c:pt>
                <c:pt idx="256">
                  <c:v>111</c:v>
                </c:pt>
                <c:pt idx="257">
                  <c:v>68</c:v>
                </c:pt>
                <c:pt idx="258">
                  <c:v>48</c:v>
                </c:pt>
                <c:pt idx="259">
                  <c:v>210</c:v>
                </c:pt>
                <c:pt idx="260">
                  <c:v>166</c:v>
                </c:pt>
                <c:pt idx="261">
                  <c:v>176</c:v>
                </c:pt>
                <c:pt idx="262">
                  <c:v>123</c:v>
                </c:pt>
                <c:pt idx="263">
                  <c:v>124</c:v>
                </c:pt>
                <c:pt idx="264">
                  <c:v>65</c:v>
                </c:pt>
                <c:pt idx="265">
                  <c:v>44</c:v>
                </c:pt>
                <c:pt idx="266">
                  <c:v>227</c:v>
                </c:pt>
                <c:pt idx="267">
                  <c:v>166</c:v>
                </c:pt>
                <c:pt idx="268">
                  <c:v>137</c:v>
                </c:pt>
                <c:pt idx="269">
                  <c:v>128</c:v>
                </c:pt>
                <c:pt idx="270">
                  <c:v>1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C$1</c:f>
              <c:strCache>
                <c:ptCount val="54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8.03</c:v>
                </c:pt>
                <c:pt idx="11">
                  <c:v>19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  <c:pt idx="53">
                  <c:v>31.12 - 31.12</c:v>
                </c:pt>
              </c:strCache>
            </c:strRef>
          </c:cat>
          <c:val>
            <c:numRef>
              <c:f>List1!$B$2:$BC$2</c:f>
              <c:numCache>
                <c:formatCode>General</c:formatCode>
                <c:ptCount val="54"/>
                <c:pt idx="9">
                  <c:v>0.32500000000000001</c:v>
                </c:pt>
                <c:pt idx="10">
                  <c:v>0.65100000000000002</c:v>
                </c:pt>
                <c:pt idx="11">
                  <c:v>4.3650000000000002</c:v>
                </c:pt>
                <c:pt idx="12">
                  <c:v>8.9459999999999997</c:v>
                </c:pt>
                <c:pt idx="13">
                  <c:v>10.727</c:v>
                </c:pt>
                <c:pt idx="14">
                  <c:v>10.872999999999999</c:v>
                </c:pt>
                <c:pt idx="15">
                  <c:v>9.2370000000000001</c:v>
                </c:pt>
                <c:pt idx="16">
                  <c:v>3.3980000000000001</c:v>
                </c:pt>
                <c:pt idx="17">
                  <c:v>3.7170000000000001</c:v>
                </c:pt>
                <c:pt idx="18">
                  <c:v>1.2929999999999999</c:v>
                </c:pt>
                <c:pt idx="19">
                  <c:v>0.80800000000000005</c:v>
                </c:pt>
                <c:pt idx="20">
                  <c:v>0.64600000000000002</c:v>
                </c:pt>
                <c:pt idx="21">
                  <c:v>1.615</c:v>
                </c:pt>
                <c:pt idx="22">
                  <c:v>2.2599999999999998</c:v>
                </c:pt>
                <c:pt idx="23">
                  <c:v>1.6140000000000001</c:v>
                </c:pt>
                <c:pt idx="24">
                  <c:v>2.2589999999999999</c:v>
                </c:pt>
                <c:pt idx="25">
                  <c:v>1.613</c:v>
                </c:pt>
                <c:pt idx="26">
                  <c:v>1.29</c:v>
                </c:pt>
                <c:pt idx="27">
                  <c:v>2.58</c:v>
                </c:pt>
                <c:pt idx="28">
                  <c:v>3.0640000000000001</c:v>
                </c:pt>
                <c:pt idx="29">
                  <c:v>4.0309999999999997</c:v>
                </c:pt>
                <c:pt idx="30">
                  <c:v>4.03</c:v>
                </c:pt>
                <c:pt idx="31">
                  <c:v>5.1559999999999997</c:v>
                </c:pt>
                <c:pt idx="32">
                  <c:v>8.0540000000000003</c:v>
                </c:pt>
                <c:pt idx="33">
                  <c:v>5.6360000000000001</c:v>
                </c:pt>
                <c:pt idx="34">
                  <c:v>5.3109999999999999</c:v>
                </c:pt>
                <c:pt idx="35">
                  <c:v>15.273999999999999</c:v>
                </c:pt>
                <c:pt idx="36">
                  <c:v>29.541</c:v>
                </c:pt>
                <c:pt idx="37">
                  <c:v>45.692999999999998</c:v>
                </c:pt>
                <c:pt idx="38">
                  <c:v>48.191000000000003</c:v>
                </c:pt>
                <c:pt idx="39">
                  <c:v>99.745999999999995</c:v>
                </c:pt>
                <c:pt idx="40">
                  <c:v>175.09700000000001</c:v>
                </c:pt>
                <c:pt idx="41">
                  <c:v>315.74200000000002</c:v>
                </c:pt>
                <c:pt idx="42">
                  <c:v>415.87599999999998</c:v>
                </c:pt>
                <c:pt idx="43">
                  <c:v>339.524</c:v>
                </c:pt>
                <c:pt idx="44">
                  <c:v>253.589</c:v>
                </c:pt>
                <c:pt idx="45">
                  <c:v>167.75700000000001</c:v>
                </c:pt>
                <c:pt idx="46">
                  <c:v>136.78399999999999</c:v>
                </c:pt>
                <c:pt idx="47">
                  <c:v>107.92700000000001</c:v>
                </c:pt>
                <c:pt idx="48">
                  <c:v>123.92400000000001</c:v>
                </c:pt>
                <c:pt idx="49">
                  <c:v>137.60599999999999</c:v>
                </c:pt>
                <c:pt idx="50">
                  <c:v>165.334</c:v>
                </c:pt>
                <c:pt idx="51">
                  <c:v>182.24799999999999</c:v>
                </c:pt>
                <c:pt idx="52">
                  <c:v>310.85300000000001</c:v>
                </c:pt>
                <c:pt idx="53">
                  <c:v>272.420652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87-4662-BB8A-7C8E4F3CFE2C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C$1</c:f>
              <c:strCache>
                <c:ptCount val="54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8.03</c:v>
                </c:pt>
                <c:pt idx="11">
                  <c:v>19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  <c:pt idx="53">
                  <c:v>31.12 - 31.12</c:v>
                </c:pt>
              </c:strCache>
            </c:strRef>
          </c:cat>
          <c:val>
            <c:numRef>
              <c:f>List1!$B$3:$BC$3</c:f>
              <c:numCache>
                <c:formatCode>General</c:formatCode>
                <c:ptCount val="54"/>
                <c:pt idx="0">
                  <c:v>220.59399999999999</c:v>
                </c:pt>
                <c:pt idx="1">
                  <c:v>180.209</c:v>
                </c:pt>
                <c:pt idx="2">
                  <c:v>143.34200000000001</c:v>
                </c:pt>
                <c:pt idx="3">
                  <c:v>123.3</c:v>
                </c:pt>
                <c:pt idx="4">
                  <c:v>97.980999999999995</c:v>
                </c:pt>
                <c:pt idx="5">
                  <c:v>105.328</c:v>
                </c:pt>
                <c:pt idx="6">
                  <c:v>102.611</c:v>
                </c:pt>
                <c:pt idx="7">
                  <c:v>115.557</c:v>
                </c:pt>
                <c:pt idx="8">
                  <c:v>133.298</c:v>
                </c:pt>
                <c:pt idx="9">
                  <c:v>106.351</c:v>
                </c:pt>
                <c:pt idx="10">
                  <c:v>95.070999999999998</c:v>
                </c:pt>
                <c:pt idx="11">
                  <c:v>60.628</c:v>
                </c:pt>
                <c:pt idx="12">
                  <c:v>53.143000000000001</c:v>
                </c:pt>
                <c:pt idx="13">
                  <c:v>27.29</c:v>
                </c:pt>
                <c:pt idx="14">
                  <c:v>28.145</c:v>
                </c:pt>
                <c:pt idx="15">
                  <c:v>20.25</c:v>
                </c:pt>
                <c:pt idx="16">
                  <c:v>12.395</c:v>
                </c:pt>
                <c:pt idx="17">
                  <c:v>13.442</c:v>
                </c:pt>
                <c:pt idx="18">
                  <c:v>10.542999999999999</c:v>
                </c:pt>
                <c:pt idx="19">
                  <c:v>6.8789999999999996</c:v>
                </c:pt>
                <c:pt idx="20">
                  <c:v>3.3650000000000002</c:v>
                </c:pt>
                <c:pt idx="21">
                  <c:v>1.377</c:v>
                </c:pt>
                <c:pt idx="22">
                  <c:v>1.6839999999999999</c:v>
                </c:pt>
                <c:pt idx="23">
                  <c:v>0.45900000000000002</c:v>
                </c:pt>
                <c:pt idx="24">
                  <c:v>1.2250000000000001</c:v>
                </c:pt>
                <c:pt idx="25">
                  <c:v>0.91900000000000004</c:v>
                </c:pt>
                <c:pt idx="26">
                  <c:v>0.45900000000000002</c:v>
                </c:pt>
                <c:pt idx="27">
                  <c:v>2.448</c:v>
                </c:pt>
                <c:pt idx="28">
                  <c:v>2.9049999999999998</c:v>
                </c:pt>
                <c:pt idx="29">
                  <c:v>2.1389999999999998</c:v>
                </c:pt>
                <c:pt idx="30">
                  <c:v>1.986</c:v>
                </c:pt>
                <c:pt idx="31">
                  <c:v>2.141</c:v>
                </c:pt>
                <c:pt idx="32">
                  <c:v>2.1429999999999998</c:v>
                </c:pt>
                <c:pt idx="33">
                  <c:v>2.452</c:v>
                </c:pt>
                <c:pt idx="34">
                  <c:v>1.381</c:v>
                </c:pt>
                <c:pt idx="35">
                  <c:v>3.9910000000000001</c:v>
                </c:pt>
                <c:pt idx="36">
                  <c:v>2.7639999999999998</c:v>
                </c:pt>
                <c:pt idx="37">
                  <c:v>6.7590000000000003</c:v>
                </c:pt>
                <c:pt idx="38">
                  <c:v>5.532</c:v>
                </c:pt>
                <c:pt idx="39">
                  <c:v>9.84</c:v>
                </c:pt>
                <c:pt idx="40">
                  <c:v>16.001000000000001</c:v>
                </c:pt>
                <c:pt idx="41">
                  <c:v>29.099</c:v>
                </c:pt>
                <c:pt idx="42">
                  <c:v>55.927999999999997</c:v>
                </c:pt>
                <c:pt idx="43">
                  <c:v>88.033000000000001</c:v>
                </c:pt>
                <c:pt idx="44">
                  <c:v>112.29900000000001</c:v>
                </c:pt>
                <c:pt idx="45">
                  <c:v>138.59399999999999</c:v>
                </c:pt>
                <c:pt idx="46">
                  <c:v>181.59299999999999</c:v>
                </c:pt>
                <c:pt idx="47">
                  <c:v>172.727</c:v>
                </c:pt>
                <c:pt idx="48">
                  <c:v>139.57599999999999</c:v>
                </c:pt>
                <c:pt idx="49">
                  <c:v>108.392</c:v>
                </c:pt>
                <c:pt idx="50">
                  <c:v>79.042000000000002</c:v>
                </c:pt>
                <c:pt idx="51">
                  <c:v>52.146000000000001</c:v>
                </c:pt>
                <c:pt idx="52">
                  <c:v>70.421999999999997</c:v>
                </c:pt>
                <c:pt idx="53">
                  <c:v>79.090781000000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87-4662-BB8A-7C8E4F3CFE2C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7D87-4662-BB8A-7C8E4F3CFE2C}"/>
              </c:ext>
            </c:extLst>
          </c:dPt>
          <c:cat>
            <c:strRef>
              <c:f>List1!$B$1:$BC$1</c:f>
              <c:strCache>
                <c:ptCount val="54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8.03</c:v>
                </c:pt>
                <c:pt idx="11">
                  <c:v>19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  <c:pt idx="53">
                  <c:v>31.12 - 31.12</c:v>
                </c:pt>
              </c:strCache>
            </c:strRef>
          </c:cat>
          <c:val>
            <c:numRef>
              <c:f>List1!$B$4:$BC$4</c:f>
              <c:numCache>
                <c:formatCode>General</c:formatCode>
                <c:ptCount val="54"/>
                <c:pt idx="0">
                  <c:v>63.57</c:v>
                </c:pt>
                <c:pt idx="1">
                  <c:v>77.14</c:v>
                </c:pt>
                <c:pt idx="2">
                  <c:v>174.57</c:v>
                </c:pt>
                <c:pt idx="3">
                  <c:v>305.93299999999999</c:v>
                </c:pt>
                <c:pt idx="4">
                  <c:v>337.15300000000002</c:v>
                </c:pt>
                <c:pt idx="5">
                  <c:v>287.125</c:v>
                </c:pt>
                <c:pt idx="6">
                  <c:v>182.184</c:v>
                </c:pt>
                <c:pt idx="7">
                  <c:v>123.658</c:v>
                </c:pt>
                <c:pt idx="8">
                  <c:v>102.65300000000001</c:v>
                </c:pt>
                <c:pt idx="9">
                  <c:v>103.321</c:v>
                </c:pt>
                <c:pt idx="10">
                  <c:v>104.1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D87-4662-BB8A-7C8E4F3CFE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405</c:f>
              <c:numCache>
                <c:formatCode>m/d/yyyy</c:formatCode>
                <c:ptCount val="271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  <c:pt idx="257">
                  <c:v>44625</c:v>
                </c:pt>
                <c:pt idx="258">
                  <c:v>44626</c:v>
                </c:pt>
                <c:pt idx="259">
                  <c:v>44627</c:v>
                </c:pt>
                <c:pt idx="260">
                  <c:v>44628</c:v>
                </c:pt>
                <c:pt idx="261">
                  <c:v>44629</c:v>
                </c:pt>
                <c:pt idx="262">
                  <c:v>44630</c:v>
                </c:pt>
                <c:pt idx="263">
                  <c:v>44631</c:v>
                </c:pt>
                <c:pt idx="264">
                  <c:v>44632</c:v>
                </c:pt>
                <c:pt idx="265">
                  <c:v>44633</c:v>
                </c:pt>
                <c:pt idx="266">
                  <c:v>44634</c:v>
                </c:pt>
                <c:pt idx="267">
                  <c:v>44635</c:v>
                </c:pt>
                <c:pt idx="268">
                  <c:v>44636</c:v>
                </c:pt>
                <c:pt idx="269">
                  <c:v>44637</c:v>
                </c:pt>
                <c:pt idx="270">
                  <c:v>44638</c:v>
                </c:pt>
              </c:numCache>
            </c:numRef>
          </c:cat>
          <c:val>
            <c:numRef>
              <c:f>Sheet1!$B$135:$B$405</c:f>
              <c:numCache>
                <c:formatCode>General</c:formatCode>
                <c:ptCount val="271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6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2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6</c:v>
                </c:pt>
                <c:pt idx="18">
                  <c:v>6</c:v>
                </c:pt>
                <c:pt idx="19">
                  <c:v>1</c:v>
                </c:pt>
                <c:pt idx="20">
                  <c:v>1</c:v>
                </c:pt>
                <c:pt idx="21">
                  <c:v>7</c:v>
                </c:pt>
                <c:pt idx="22">
                  <c:v>4</c:v>
                </c:pt>
                <c:pt idx="23">
                  <c:v>7</c:v>
                </c:pt>
                <c:pt idx="24">
                  <c:v>5</c:v>
                </c:pt>
                <c:pt idx="25">
                  <c:v>8</c:v>
                </c:pt>
                <c:pt idx="26">
                  <c:v>3</c:v>
                </c:pt>
                <c:pt idx="27">
                  <c:v>4</c:v>
                </c:pt>
                <c:pt idx="28">
                  <c:v>11</c:v>
                </c:pt>
                <c:pt idx="29">
                  <c:v>8</c:v>
                </c:pt>
                <c:pt idx="30">
                  <c:v>7</c:v>
                </c:pt>
                <c:pt idx="31">
                  <c:v>7</c:v>
                </c:pt>
                <c:pt idx="32">
                  <c:v>6</c:v>
                </c:pt>
                <c:pt idx="33">
                  <c:v>1</c:v>
                </c:pt>
                <c:pt idx="34">
                  <c:v>4</c:v>
                </c:pt>
                <c:pt idx="35">
                  <c:v>9</c:v>
                </c:pt>
                <c:pt idx="36">
                  <c:v>4</c:v>
                </c:pt>
                <c:pt idx="37">
                  <c:v>2</c:v>
                </c:pt>
                <c:pt idx="38">
                  <c:v>8</c:v>
                </c:pt>
                <c:pt idx="39">
                  <c:v>5</c:v>
                </c:pt>
                <c:pt idx="40">
                  <c:v>2</c:v>
                </c:pt>
                <c:pt idx="41">
                  <c:v>1</c:v>
                </c:pt>
                <c:pt idx="42">
                  <c:v>2</c:v>
                </c:pt>
                <c:pt idx="43">
                  <c:v>6</c:v>
                </c:pt>
                <c:pt idx="44">
                  <c:v>11</c:v>
                </c:pt>
                <c:pt idx="45">
                  <c:v>3</c:v>
                </c:pt>
                <c:pt idx="46">
                  <c:v>7</c:v>
                </c:pt>
                <c:pt idx="47">
                  <c:v>1</c:v>
                </c:pt>
                <c:pt idx="48">
                  <c:v>3</c:v>
                </c:pt>
                <c:pt idx="49">
                  <c:v>12</c:v>
                </c:pt>
                <c:pt idx="50">
                  <c:v>3</c:v>
                </c:pt>
                <c:pt idx="51">
                  <c:v>7</c:v>
                </c:pt>
                <c:pt idx="52">
                  <c:v>4</c:v>
                </c:pt>
                <c:pt idx="53">
                  <c:v>10</c:v>
                </c:pt>
                <c:pt idx="54">
                  <c:v>5</c:v>
                </c:pt>
                <c:pt idx="55">
                  <c:v>2</c:v>
                </c:pt>
                <c:pt idx="56">
                  <c:v>7</c:v>
                </c:pt>
                <c:pt idx="57">
                  <c:v>4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2</c:v>
                </c:pt>
                <c:pt idx="62">
                  <c:v>3</c:v>
                </c:pt>
                <c:pt idx="63">
                  <c:v>8</c:v>
                </c:pt>
                <c:pt idx="64">
                  <c:v>5</c:v>
                </c:pt>
                <c:pt idx="65">
                  <c:v>6</c:v>
                </c:pt>
                <c:pt idx="66">
                  <c:v>5</c:v>
                </c:pt>
                <c:pt idx="67">
                  <c:v>4</c:v>
                </c:pt>
                <c:pt idx="68">
                  <c:v>3</c:v>
                </c:pt>
                <c:pt idx="69">
                  <c:v>2</c:v>
                </c:pt>
                <c:pt idx="70">
                  <c:v>1</c:v>
                </c:pt>
                <c:pt idx="71">
                  <c:v>7</c:v>
                </c:pt>
                <c:pt idx="72">
                  <c:v>7</c:v>
                </c:pt>
                <c:pt idx="73">
                  <c:v>12</c:v>
                </c:pt>
                <c:pt idx="74">
                  <c:v>13</c:v>
                </c:pt>
                <c:pt idx="75">
                  <c:v>9</c:v>
                </c:pt>
                <c:pt idx="76">
                  <c:v>3</c:v>
                </c:pt>
                <c:pt idx="77">
                  <c:v>7</c:v>
                </c:pt>
                <c:pt idx="78">
                  <c:v>12</c:v>
                </c:pt>
                <c:pt idx="79">
                  <c:v>2</c:v>
                </c:pt>
                <c:pt idx="80">
                  <c:v>7</c:v>
                </c:pt>
                <c:pt idx="81">
                  <c:v>5</c:v>
                </c:pt>
                <c:pt idx="82">
                  <c:v>4</c:v>
                </c:pt>
                <c:pt idx="83">
                  <c:v>5</c:v>
                </c:pt>
                <c:pt idx="84">
                  <c:v>9</c:v>
                </c:pt>
                <c:pt idx="85">
                  <c:v>10</c:v>
                </c:pt>
                <c:pt idx="86">
                  <c:v>8</c:v>
                </c:pt>
                <c:pt idx="87">
                  <c:v>17</c:v>
                </c:pt>
                <c:pt idx="88">
                  <c:v>11</c:v>
                </c:pt>
                <c:pt idx="89">
                  <c:v>5</c:v>
                </c:pt>
                <c:pt idx="90">
                  <c:v>9</c:v>
                </c:pt>
                <c:pt idx="91">
                  <c:v>17</c:v>
                </c:pt>
                <c:pt idx="92">
                  <c:v>19</c:v>
                </c:pt>
                <c:pt idx="93">
                  <c:v>16</c:v>
                </c:pt>
                <c:pt idx="94">
                  <c:v>14</c:v>
                </c:pt>
                <c:pt idx="95">
                  <c:v>15</c:v>
                </c:pt>
                <c:pt idx="96">
                  <c:v>10</c:v>
                </c:pt>
                <c:pt idx="97">
                  <c:v>10</c:v>
                </c:pt>
                <c:pt idx="98">
                  <c:v>18</c:v>
                </c:pt>
                <c:pt idx="99">
                  <c:v>19</c:v>
                </c:pt>
                <c:pt idx="100">
                  <c:v>24</c:v>
                </c:pt>
                <c:pt idx="101">
                  <c:v>37</c:v>
                </c:pt>
                <c:pt idx="102">
                  <c:v>21</c:v>
                </c:pt>
                <c:pt idx="103">
                  <c:v>14</c:v>
                </c:pt>
                <c:pt idx="104">
                  <c:v>15</c:v>
                </c:pt>
                <c:pt idx="105">
                  <c:v>20</c:v>
                </c:pt>
                <c:pt idx="106">
                  <c:v>29</c:v>
                </c:pt>
                <c:pt idx="107">
                  <c:v>26</c:v>
                </c:pt>
                <c:pt idx="108">
                  <c:v>29</c:v>
                </c:pt>
                <c:pt idx="109">
                  <c:v>26</c:v>
                </c:pt>
                <c:pt idx="110">
                  <c:v>14</c:v>
                </c:pt>
                <c:pt idx="111">
                  <c:v>10</c:v>
                </c:pt>
                <c:pt idx="112">
                  <c:v>40</c:v>
                </c:pt>
                <c:pt idx="113">
                  <c:v>60</c:v>
                </c:pt>
                <c:pt idx="114">
                  <c:v>48</c:v>
                </c:pt>
                <c:pt idx="115">
                  <c:v>47</c:v>
                </c:pt>
                <c:pt idx="116">
                  <c:v>37</c:v>
                </c:pt>
                <c:pt idx="117">
                  <c:v>24</c:v>
                </c:pt>
                <c:pt idx="118">
                  <c:v>30</c:v>
                </c:pt>
                <c:pt idx="119">
                  <c:v>91</c:v>
                </c:pt>
                <c:pt idx="120">
                  <c:v>101</c:v>
                </c:pt>
                <c:pt idx="121">
                  <c:v>88</c:v>
                </c:pt>
                <c:pt idx="122">
                  <c:v>120</c:v>
                </c:pt>
                <c:pt idx="123">
                  <c:v>106</c:v>
                </c:pt>
                <c:pt idx="124">
                  <c:v>77</c:v>
                </c:pt>
                <c:pt idx="125">
                  <c:v>46</c:v>
                </c:pt>
                <c:pt idx="126">
                  <c:v>174</c:v>
                </c:pt>
                <c:pt idx="127">
                  <c:v>176</c:v>
                </c:pt>
                <c:pt idx="128">
                  <c:v>164</c:v>
                </c:pt>
                <c:pt idx="129">
                  <c:v>98</c:v>
                </c:pt>
                <c:pt idx="130">
                  <c:v>202</c:v>
                </c:pt>
                <c:pt idx="131">
                  <c:v>139</c:v>
                </c:pt>
                <c:pt idx="132">
                  <c:v>97</c:v>
                </c:pt>
                <c:pt idx="133">
                  <c:v>303</c:v>
                </c:pt>
                <c:pt idx="134">
                  <c:v>270</c:v>
                </c:pt>
                <c:pt idx="135">
                  <c:v>263</c:v>
                </c:pt>
                <c:pt idx="136">
                  <c:v>244</c:v>
                </c:pt>
                <c:pt idx="137">
                  <c:v>283</c:v>
                </c:pt>
                <c:pt idx="138">
                  <c:v>160</c:v>
                </c:pt>
                <c:pt idx="139">
                  <c:v>86</c:v>
                </c:pt>
                <c:pt idx="140">
                  <c:v>317</c:v>
                </c:pt>
                <c:pt idx="141">
                  <c:v>339</c:v>
                </c:pt>
                <c:pt idx="142">
                  <c:v>363</c:v>
                </c:pt>
                <c:pt idx="143">
                  <c:v>267</c:v>
                </c:pt>
                <c:pt idx="144">
                  <c:v>377</c:v>
                </c:pt>
                <c:pt idx="145">
                  <c:v>240</c:v>
                </c:pt>
                <c:pt idx="146">
                  <c:v>130</c:v>
                </c:pt>
                <c:pt idx="147">
                  <c:v>388</c:v>
                </c:pt>
                <c:pt idx="148">
                  <c:v>487</c:v>
                </c:pt>
                <c:pt idx="149">
                  <c:v>308</c:v>
                </c:pt>
                <c:pt idx="150">
                  <c:v>390</c:v>
                </c:pt>
                <c:pt idx="151">
                  <c:v>577</c:v>
                </c:pt>
                <c:pt idx="152">
                  <c:v>330</c:v>
                </c:pt>
                <c:pt idx="153">
                  <c:v>205</c:v>
                </c:pt>
                <c:pt idx="154">
                  <c:v>457</c:v>
                </c:pt>
                <c:pt idx="155">
                  <c:v>546</c:v>
                </c:pt>
                <c:pt idx="156">
                  <c:v>367</c:v>
                </c:pt>
                <c:pt idx="157">
                  <c:v>550</c:v>
                </c:pt>
                <c:pt idx="158">
                  <c:v>396</c:v>
                </c:pt>
                <c:pt idx="159">
                  <c:v>260</c:v>
                </c:pt>
                <c:pt idx="160">
                  <c:v>203</c:v>
                </c:pt>
                <c:pt idx="161">
                  <c:v>477</c:v>
                </c:pt>
                <c:pt idx="162">
                  <c:v>416</c:v>
                </c:pt>
                <c:pt idx="163">
                  <c:v>407</c:v>
                </c:pt>
                <c:pt idx="164">
                  <c:v>329</c:v>
                </c:pt>
                <c:pt idx="165">
                  <c:v>358</c:v>
                </c:pt>
                <c:pt idx="166">
                  <c:v>210</c:v>
                </c:pt>
                <c:pt idx="167">
                  <c:v>149</c:v>
                </c:pt>
                <c:pt idx="168">
                  <c:v>413</c:v>
                </c:pt>
                <c:pt idx="169">
                  <c:v>365</c:v>
                </c:pt>
                <c:pt idx="170">
                  <c:v>291</c:v>
                </c:pt>
                <c:pt idx="171">
                  <c:v>275</c:v>
                </c:pt>
                <c:pt idx="172">
                  <c:v>246</c:v>
                </c:pt>
                <c:pt idx="173">
                  <c:v>173</c:v>
                </c:pt>
                <c:pt idx="174">
                  <c:v>134</c:v>
                </c:pt>
                <c:pt idx="175">
                  <c:v>255</c:v>
                </c:pt>
                <c:pt idx="176">
                  <c:v>325</c:v>
                </c:pt>
                <c:pt idx="177">
                  <c:v>209</c:v>
                </c:pt>
                <c:pt idx="178">
                  <c:v>173</c:v>
                </c:pt>
                <c:pt idx="179">
                  <c:v>203</c:v>
                </c:pt>
                <c:pt idx="180">
                  <c:v>130</c:v>
                </c:pt>
                <c:pt idx="181">
                  <c:v>92</c:v>
                </c:pt>
                <c:pt idx="182">
                  <c:v>224</c:v>
                </c:pt>
                <c:pt idx="183">
                  <c:v>213</c:v>
                </c:pt>
                <c:pt idx="184">
                  <c:v>119</c:v>
                </c:pt>
                <c:pt idx="185">
                  <c:v>162</c:v>
                </c:pt>
                <c:pt idx="186">
                  <c:v>48</c:v>
                </c:pt>
                <c:pt idx="187">
                  <c:v>44</c:v>
                </c:pt>
                <c:pt idx="188">
                  <c:v>49</c:v>
                </c:pt>
                <c:pt idx="189">
                  <c:v>172</c:v>
                </c:pt>
                <c:pt idx="190">
                  <c:v>221</c:v>
                </c:pt>
                <c:pt idx="191">
                  <c:v>150</c:v>
                </c:pt>
                <c:pt idx="192">
                  <c:v>139</c:v>
                </c:pt>
                <c:pt idx="193">
                  <c:v>151</c:v>
                </c:pt>
                <c:pt idx="194">
                  <c:v>33</c:v>
                </c:pt>
                <c:pt idx="195">
                  <c:v>90</c:v>
                </c:pt>
                <c:pt idx="196">
                  <c:v>242</c:v>
                </c:pt>
                <c:pt idx="197">
                  <c:v>209</c:v>
                </c:pt>
                <c:pt idx="198">
                  <c:v>163</c:v>
                </c:pt>
                <c:pt idx="199">
                  <c:v>163</c:v>
                </c:pt>
                <c:pt idx="200">
                  <c:v>164</c:v>
                </c:pt>
                <c:pt idx="201">
                  <c:v>90</c:v>
                </c:pt>
                <c:pt idx="202">
                  <c:v>75</c:v>
                </c:pt>
                <c:pt idx="203">
                  <c:v>193</c:v>
                </c:pt>
                <c:pt idx="204">
                  <c:v>274</c:v>
                </c:pt>
                <c:pt idx="205">
                  <c:v>310</c:v>
                </c:pt>
                <c:pt idx="206">
                  <c:v>239</c:v>
                </c:pt>
                <c:pt idx="207">
                  <c:v>283</c:v>
                </c:pt>
                <c:pt idx="208">
                  <c:v>212</c:v>
                </c:pt>
                <c:pt idx="209">
                  <c:v>187</c:v>
                </c:pt>
                <c:pt idx="210">
                  <c:v>584</c:v>
                </c:pt>
                <c:pt idx="211">
                  <c:v>626</c:v>
                </c:pt>
                <c:pt idx="212">
                  <c:v>741</c:v>
                </c:pt>
                <c:pt idx="213">
                  <c:v>713</c:v>
                </c:pt>
                <c:pt idx="214">
                  <c:v>680</c:v>
                </c:pt>
                <c:pt idx="215">
                  <c:v>414</c:v>
                </c:pt>
                <c:pt idx="216">
                  <c:v>443</c:v>
                </c:pt>
                <c:pt idx="217">
                  <c:v>990</c:v>
                </c:pt>
                <c:pt idx="218">
                  <c:v>914</c:v>
                </c:pt>
                <c:pt idx="219">
                  <c:v>1076</c:v>
                </c:pt>
                <c:pt idx="220">
                  <c:v>1661</c:v>
                </c:pt>
                <c:pt idx="221">
                  <c:v>1343</c:v>
                </c:pt>
                <c:pt idx="222">
                  <c:v>512</c:v>
                </c:pt>
                <c:pt idx="223">
                  <c:v>687</c:v>
                </c:pt>
                <c:pt idx="224">
                  <c:v>1365</c:v>
                </c:pt>
                <c:pt idx="225">
                  <c:v>1606</c:v>
                </c:pt>
                <c:pt idx="226">
                  <c:v>1262</c:v>
                </c:pt>
                <c:pt idx="227">
                  <c:v>1176</c:v>
                </c:pt>
                <c:pt idx="228">
                  <c:v>969</c:v>
                </c:pt>
                <c:pt idx="229">
                  <c:v>699</c:v>
                </c:pt>
                <c:pt idx="230">
                  <c:v>387</c:v>
                </c:pt>
                <c:pt idx="231">
                  <c:v>1362</c:v>
                </c:pt>
                <c:pt idx="232">
                  <c:v>1169</c:v>
                </c:pt>
                <c:pt idx="233">
                  <c:v>960</c:v>
                </c:pt>
                <c:pt idx="234">
                  <c:v>844</c:v>
                </c:pt>
                <c:pt idx="235">
                  <c:v>772</c:v>
                </c:pt>
                <c:pt idx="236">
                  <c:v>411</c:v>
                </c:pt>
                <c:pt idx="237">
                  <c:v>322</c:v>
                </c:pt>
                <c:pt idx="238">
                  <c:v>902</c:v>
                </c:pt>
                <c:pt idx="239">
                  <c:v>890</c:v>
                </c:pt>
                <c:pt idx="240">
                  <c:v>655</c:v>
                </c:pt>
                <c:pt idx="241">
                  <c:v>581</c:v>
                </c:pt>
                <c:pt idx="242">
                  <c:v>512</c:v>
                </c:pt>
                <c:pt idx="243">
                  <c:v>283</c:v>
                </c:pt>
                <c:pt idx="244">
                  <c:v>206</c:v>
                </c:pt>
                <c:pt idx="245">
                  <c:v>647</c:v>
                </c:pt>
                <c:pt idx="246">
                  <c:v>518</c:v>
                </c:pt>
                <c:pt idx="247">
                  <c:v>399</c:v>
                </c:pt>
                <c:pt idx="248">
                  <c:v>395</c:v>
                </c:pt>
                <c:pt idx="249">
                  <c:v>341</c:v>
                </c:pt>
                <c:pt idx="250">
                  <c:v>217</c:v>
                </c:pt>
                <c:pt idx="251">
                  <c:v>162</c:v>
                </c:pt>
                <c:pt idx="252">
                  <c:v>530</c:v>
                </c:pt>
                <c:pt idx="253">
                  <c:v>451</c:v>
                </c:pt>
                <c:pt idx="254">
                  <c:v>369</c:v>
                </c:pt>
                <c:pt idx="255">
                  <c:v>324</c:v>
                </c:pt>
                <c:pt idx="256">
                  <c:v>325</c:v>
                </c:pt>
                <c:pt idx="257">
                  <c:v>206</c:v>
                </c:pt>
                <c:pt idx="258">
                  <c:v>139</c:v>
                </c:pt>
                <c:pt idx="259">
                  <c:v>529</c:v>
                </c:pt>
                <c:pt idx="260">
                  <c:v>408</c:v>
                </c:pt>
                <c:pt idx="261">
                  <c:v>405</c:v>
                </c:pt>
                <c:pt idx="262">
                  <c:v>334</c:v>
                </c:pt>
                <c:pt idx="263">
                  <c:v>318</c:v>
                </c:pt>
                <c:pt idx="264">
                  <c:v>169</c:v>
                </c:pt>
                <c:pt idx="265">
                  <c:v>126</c:v>
                </c:pt>
                <c:pt idx="266">
                  <c:v>536</c:v>
                </c:pt>
                <c:pt idx="267">
                  <c:v>403</c:v>
                </c:pt>
                <c:pt idx="268">
                  <c:v>361</c:v>
                </c:pt>
                <c:pt idx="269">
                  <c:v>336</c:v>
                </c:pt>
                <c:pt idx="270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062317472436659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12</c:f>
              <c:numCache>
                <c:formatCode>m/d/yyyy</c:formatCode>
                <c:ptCount val="41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  <c:pt idx="384">
                  <c:v>44612</c:v>
                </c:pt>
                <c:pt idx="385">
                  <c:v>44613</c:v>
                </c:pt>
                <c:pt idx="386">
                  <c:v>44614</c:v>
                </c:pt>
                <c:pt idx="387">
                  <c:v>44615</c:v>
                </c:pt>
                <c:pt idx="388">
                  <c:v>44616</c:v>
                </c:pt>
                <c:pt idx="389">
                  <c:v>44617</c:v>
                </c:pt>
                <c:pt idx="390">
                  <c:v>44618</c:v>
                </c:pt>
                <c:pt idx="391">
                  <c:v>44619</c:v>
                </c:pt>
                <c:pt idx="392">
                  <c:v>44620</c:v>
                </c:pt>
                <c:pt idx="393">
                  <c:v>44621</c:v>
                </c:pt>
                <c:pt idx="394">
                  <c:v>44622</c:v>
                </c:pt>
                <c:pt idx="395">
                  <c:v>44623</c:v>
                </c:pt>
                <c:pt idx="396">
                  <c:v>44624</c:v>
                </c:pt>
                <c:pt idx="397">
                  <c:v>44625</c:v>
                </c:pt>
                <c:pt idx="398">
                  <c:v>44626</c:v>
                </c:pt>
                <c:pt idx="399">
                  <c:v>44627</c:v>
                </c:pt>
                <c:pt idx="400">
                  <c:v>44628</c:v>
                </c:pt>
                <c:pt idx="401">
                  <c:v>44629</c:v>
                </c:pt>
                <c:pt idx="402">
                  <c:v>44630</c:v>
                </c:pt>
                <c:pt idx="403">
                  <c:v>44631</c:v>
                </c:pt>
                <c:pt idx="404">
                  <c:v>44632</c:v>
                </c:pt>
                <c:pt idx="405">
                  <c:v>44633</c:v>
                </c:pt>
                <c:pt idx="406">
                  <c:v>44634</c:v>
                </c:pt>
                <c:pt idx="407">
                  <c:v>44635</c:v>
                </c:pt>
                <c:pt idx="408">
                  <c:v>44636</c:v>
                </c:pt>
                <c:pt idx="409">
                  <c:v>44637</c:v>
                </c:pt>
                <c:pt idx="410">
                  <c:v>44638</c:v>
                </c:pt>
              </c:numCache>
            </c:numRef>
          </c:cat>
          <c:val>
            <c:numRef>
              <c:f>List1!$B$2:$B$412</c:f>
              <c:numCache>
                <c:formatCode>General</c:formatCode>
                <c:ptCount val="411"/>
                <c:pt idx="0">
                  <c:v>18.539652196123999</c:v>
                </c:pt>
                <c:pt idx="1">
                  <c:v>26.588341842986999</c:v>
                </c:pt>
                <c:pt idx="2">
                  <c:v>22.616001239690998</c:v>
                </c:pt>
                <c:pt idx="3">
                  <c:v>21.901099687908999</c:v>
                </c:pt>
                <c:pt idx="4">
                  <c:v>19.438235008261</c:v>
                </c:pt>
                <c:pt idx="5">
                  <c:v>11.446643801642001</c:v>
                </c:pt>
                <c:pt idx="6">
                  <c:v>5.1035814382740003</c:v>
                </c:pt>
                <c:pt idx="7">
                  <c:v>23.648692227319</c:v>
                </c:pt>
                <c:pt idx="8">
                  <c:v>30.116143562346</c:v>
                </c:pt>
                <c:pt idx="9">
                  <c:v>27.971531197137001</c:v>
                </c:pt>
                <c:pt idx="10">
                  <c:v>22.208927082199999</c:v>
                </c:pt>
                <c:pt idx="11">
                  <c:v>26.969594107608</c:v>
                </c:pt>
                <c:pt idx="12">
                  <c:v>11.192046185842999</c:v>
                </c:pt>
                <c:pt idx="13">
                  <c:v>7.4821597254040002</c:v>
                </c:pt>
                <c:pt idx="14">
                  <c:v>31.132355617712999</c:v>
                </c:pt>
                <c:pt idx="15">
                  <c:v>32.572325367918999</c:v>
                </c:pt>
                <c:pt idx="16">
                  <c:v>31.488704696894999</c:v>
                </c:pt>
                <c:pt idx="17">
                  <c:v>29.362108199367999</c:v>
                </c:pt>
                <c:pt idx="18">
                  <c:v>31.230817278180002</c:v>
                </c:pt>
                <c:pt idx="19">
                  <c:v>15.678472376153</c:v>
                </c:pt>
                <c:pt idx="20">
                  <c:v>7.5951976650189996</c:v>
                </c:pt>
                <c:pt idx="21">
                  <c:v>40.581482613892</c:v>
                </c:pt>
                <c:pt idx="22">
                  <c:v>46.543043801544997</c:v>
                </c:pt>
                <c:pt idx="23">
                  <c:v>38.210586648293997</c:v>
                </c:pt>
                <c:pt idx="24">
                  <c:v>47.774927010528003</c:v>
                </c:pt>
                <c:pt idx="25">
                  <c:v>58.214204265840003</c:v>
                </c:pt>
                <c:pt idx="26">
                  <c:v>20.451004805985999</c:v>
                </c:pt>
                <c:pt idx="27">
                  <c:v>9.6304321656430005</c:v>
                </c:pt>
                <c:pt idx="28">
                  <c:v>61.538086592008</c:v>
                </c:pt>
                <c:pt idx="29">
                  <c:v>60.908833626598003</c:v>
                </c:pt>
                <c:pt idx="30">
                  <c:v>54.566198720174</c:v>
                </c:pt>
                <c:pt idx="31">
                  <c:v>44.416918466802997</c:v>
                </c:pt>
                <c:pt idx="32">
                  <c:v>51.706634213397002</c:v>
                </c:pt>
                <c:pt idx="33">
                  <c:v>21.448397678526</c:v>
                </c:pt>
                <c:pt idx="34">
                  <c:v>10.728801151137001</c:v>
                </c:pt>
                <c:pt idx="35">
                  <c:v>49.503379557641999</c:v>
                </c:pt>
                <c:pt idx="36">
                  <c:v>53.671034892561998</c:v>
                </c:pt>
                <c:pt idx="37">
                  <c:v>48.172341368479003</c:v>
                </c:pt>
                <c:pt idx="38">
                  <c:v>46.50081376424</c:v>
                </c:pt>
                <c:pt idx="39">
                  <c:v>54.604668699172997</c:v>
                </c:pt>
                <c:pt idx="40">
                  <c:v>22.754459874135001</c:v>
                </c:pt>
                <c:pt idx="41">
                  <c:v>7.8024421643970001</c:v>
                </c:pt>
                <c:pt idx="42">
                  <c:v>36.538260778785997</c:v>
                </c:pt>
                <c:pt idx="43">
                  <c:v>53.055957660034998</c:v>
                </c:pt>
                <c:pt idx="44">
                  <c:v>33.552190102761003</c:v>
                </c:pt>
                <c:pt idx="45">
                  <c:v>35.663809158993999</c:v>
                </c:pt>
                <c:pt idx="46">
                  <c:v>29.229082937522001</c:v>
                </c:pt>
                <c:pt idx="47">
                  <c:v>11.957510977659</c:v>
                </c:pt>
                <c:pt idx="48">
                  <c:v>5.9792718575599997</c:v>
                </c:pt>
                <c:pt idx="49">
                  <c:v>45.417810460790001</c:v>
                </c:pt>
                <c:pt idx="50">
                  <c:v>32.218873547633002</c:v>
                </c:pt>
                <c:pt idx="51">
                  <c:v>25.649852513348002</c:v>
                </c:pt>
                <c:pt idx="52">
                  <c:v>27.909193015894001</c:v>
                </c:pt>
                <c:pt idx="53">
                  <c:v>23.366734017841001</c:v>
                </c:pt>
                <c:pt idx="54">
                  <c:v>11.007609009727</c:v>
                </c:pt>
                <c:pt idx="55">
                  <c:v>6.8894247330339997</c:v>
                </c:pt>
                <c:pt idx="56">
                  <c:v>31.296292432556001</c:v>
                </c:pt>
                <c:pt idx="57">
                  <c:v>32.998666011373999</c:v>
                </c:pt>
                <c:pt idx="58">
                  <c:v>24.137441431208</c:v>
                </c:pt>
                <c:pt idx="59">
                  <c:v>20.824955477681002</c:v>
                </c:pt>
                <c:pt idx="60">
                  <c:v>16.769348547263998</c:v>
                </c:pt>
                <c:pt idx="61">
                  <c:v>9.4912680334089998</c:v>
                </c:pt>
                <c:pt idx="62">
                  <c:v>14.614221098550001</c:v>
                </c:pt>
                <c:pt idx="63">
                  <c:v>8.8706875522070003</c:v>
                </c:pt>
                <c:pt idx="64">
                  <c:v>26.932601165583002</c:v>
                </c:pt>
                <c:pt idx="65">
                  <c:v>30.320487553439001</c:v>
                </c:pt>
                <c:pt idx="66">
                  <c:v>24.600435120196</c:v>
                </c:pt>
                <c:pt idx="67">
                  <c:v>24.255891834370999</c:v>
                </c:pt>
                <c:pt idx="68">
                  <c:v>7.8438139761069996</c:v>
                </c:pt>
                <c:pt idx="69">
                  <c:v>3.9263726598809998</c:v>
                </c:pt>
                <c:pt idx="70">
                  <c:v>11.933648912049</c:v>
                </c:pt>
                <c:pt idx="71">
                  <c:v>19.357024180149001</c:v>
                </c:pt>
                <c:pt idx="72">
                  <c:v>21.281994614018</c:v>
                </c:pt>
                <c:pt idx="73">
                  <c:v>16.671529196015001</c:v>
                </c:pt>
                <c:pt idx="74">
                  <c:v>15.930776583435</c:v>
                </c:pt>
                <c:pt idx="75">
                  <c:v>3.3663799633060001</c:v>
                </c:pt>
                <c:pt idx="76">
                  <c:v>3.3751286767800002</c:v>
                </c:pt>
                <c:pt idx="77">
                  <c:v>21.138252627484</c:v>
                </c:pt>
                <c:pt idx="78">
                  <c:v>16.357453402779999</c:v>
                </c:pt>
                <c:pt idx="79">
                  <c:v>20.064030427538</c:v>
                </c:pt>
                <c:pt idx="80">
                  <c:v>13.289625232568</c:v>
                </c:pt>
                <c:pt idx="81">
                  <c:v>10.817437709587001</c:v>
                </c:pt>
                <c:pt idx="82">
                  <c:v>4.5355176386279998</c:v>
                </c:pt>
                <c:pt idx="83">
                  <c:v>0.909769100602</c:v>
                </c:pt>
                <c:pt idx="84">
                  <c:v>11.025864841273</c:v>
                </c:pt>
                <c:pt idx="85">
                  <c:v>14.869473899426</c:v>
                </c:pt>
                <c:pt idx="86">
                  <c:v>7.5239591072819998</c:v>
                </c:pt>
                <c:pt idx="87">
                  <c:v>16.165073931441</c:v>
                </c:pt>
                <c:pt idx="88">
                  <c:v>10.600366194468</c:v>
                </c:pt>
                <c:pt idx="89">
                  <c:v>3.8626443663329999</c:v>
                </c:pt>
                <c:pt idx="90">
                  <c:v>4.8390062616740002</c:v>
                </c:pt>
                <c:pt idx="91">
                  <c:v>10.720620626474</c:v>
                </c:pt>
                <c:pt idx="92">
                  <c:v>10.792249202844999</c:v>
                </c:pt>
                <c:pt idx="93">
                  <c:v>8.8812575860739997</c:v>
                </c:pt>
                <c:pt idx="94">
                  <c:v>4.9659336948529997</c:v>
                </c:pt>
                <c:pt idx="95">
                  <c:v>16.982338368097</c:v>
                </c:pt>
                <c:pt idx="96">
                  <c:v>8.0048028817290007</c:v>
                </c:pt>
                <c:pt idx="97">
                  <c:v>2.00444987873</c:v>
                </c:pt>
                <c:pt idx="98">
                  <c:v>9.0480451195839997</c:v>
                </c:pt>
                <c:pt idx="99">
                  <c:v>16.150685899441001</c:v>
                </c:pt>
                <c:pt idx="100">
                  <c:v>5.0731034202860004</c:v>
                </c:pt>
                <c:pt idx="101">
                  <c:v>8.1527000723549996</c:v>
                </c:pt>
                <c:pt idx="102">
                  <c:v>6.1412487205730004</c:v>
                </c:pt>
                <c:pt idx="103">
                  <c:v>4.097017371353</c:v>
                </c:pt>
                <c:pt idx="104">
                  <c:v>1.02499974375</c:v>
                </c:pt>
                <c:pt idx="105">
                  <c:v>3.082297338949</c:v>
                </c:pt>
                <c:pt idx="106">
                  <c:v>7.2071330024910001</c:v>
                </c:pt>
                <c:pt idx="107">
                  <c:v>4.1293306355029999</c:v>
                </c:pt>
                <c:pt idx="108">
                  <c:v>4.1423304751250001</c:v>
                </c:pt>
                <c:pt idx="109">
                  <c:v>4.158695832986</c:v>
                </c:pt>
                <c:pt idx="110">
                  <c:v>1.040128143787</c:v>
                </c:pt>
                <c:pt idx="111">
                  <c:v>1.041297873669</c:v>
                </c:pt>
                <c:pt idx="112">
                  <c:v>1.043569006</c:v>
                </c:pt>
                <c:pt idx="113">
                  <c:v>3.1372220944090001</c:v>
                </c:pt>
                <c:pt idx="114">
                  <c:v>7.3460735237010004</c:v>
                </c:pt>
                <c:pt idx="115">
                  <c:v>2.1062386789669998</c:v>
                </c:pt>
                <c:pt idx="116">
                  <c:v>4.2275700983959998</c:v>
                </c:pt>
                <c:pt idx="117">
                  <c:v>0</c:v>
                </c:pt>
                <c:pt idx="118">
                  <c:v>1.062823496901</c:v>
                </c:pt>
                <c:pt idx="119">
                  <c:v>4.2676681461239996</c:v>
                </c:pt>
                <c:pt idx="120">
                  <c:v>2.1502832998239998</c:v>
                </c:pt>
                <c:pt idx="121">
                  <c:v>0</c:v>
                </c:pt>
                <c:pt idx="122">
                  <c:v>4.3722058871750002</c:v>
                </c:pt>
                <c:pt idx="123">
                  <c:v>0</c:v>
                </c:pt>
                <c:pt idx="124">
                  <c:v>0</c:v>
                </c:pt>
                <c:pt idx="125">
                  <c:v>1.1063537898139999</c:v>
                </c:pt>
                <c:pt idx="126">
                  <c:v>0</c:v>
                </c:pt>
                <c:pt idx="127">
                  <c:v>1.1224982320650001</c:v>
                </c:pt>
                <c:pt idx="128">
                  <c:v>2.260627776333</c:v>
                </c:pt>
                <c:pt idx="129">
                  <c:v>1.1408102034059999</c:v>
                </c:pt>
                <c:pt idx="131">
                  <c:v>1.156764760318</c:v>
                </c:pt>
                <c:pt idx="132">
                  <c:v>1.15998515219</c:v>
                </c:pt>
                <c:pt idx="133">
                  <c:v>1.1672425063030001</c:v>
                </c:pt>
                <c:pt idx="135">
                  <c:v>0</c:v>
                </c:pt>
                <c:pt idx="136">
                  <c:v>2.3846144674550001</c:v>
                </c:pt>
                <c:pt idx="137">
                  <c:v>0</c:v>
                </c:pt>
                <c:pt idx="138">
                  <c:v>0</c:v>
                </c:pt>
                <c:pt idx="139">
                  <c:v>1.2085760556909999</c:v>
                </c:pt>
                <c:pt idx="141">
                  <c:v>0</c:v>
                </c:pt>
                <c:pt idx="142">
                  <c:v>2.460599648134</c:v>
                </c:pt>
                <c:pt idx="143">
                  <c:v>2.4776699991319999</c:v>
                </c:pt>
                <c:pt idx="145">
                  <c:v>1.2535255405820001</c:v>
                </c:pt>
                <c:pt idx="146">
                  <c:v>1.255477018493</c:v>
                </c:pt>
                <c:pt idx="147">
                  <c:v>0</c:v>
                </c:pt>
                <c:pt idx="148">
                  <c:v>3.812767688064</c:v>
                </c:pt>
                <c:pt idx="150">
                  <c:v>1.28892555166</c:v>
                </c:pt>
                <c:pt idx="151">
                  <c:v>1.2988193731890001</c:v>
                </c:pt>
                <c:pt idx="153">
                  <c:v>1.304733573404</c:v>
                </c:pt>
                <c:pt idx="154">
                  <c:v>0</c:v>
                </c:pt>
                <c:pt idx="155">
                  <c:v>1.320986512727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1.3535462912830001</c:v>
                </c:pt>
                <c:pt idx="160">
                  <c:v>0</c:v>
                </c:pt>
                <c:pt idx="161">
                  <c:v>2.7283640729009999</c:v>
                </c:pt>
                <c:pt idx="162">
                  <c:v>4.1209923349539999</c:v>
                </c:pt>
                <c:pt idx="163">
                  <c:v>1.383910654728</c:v>
                </c:pt>
                <c:pt idx="164">
                  <c:v>4.1852094697329996</c:v>
                </c:pt>
                <c:pt idx="165">
                  <c:v>2.8113974050800001</c:v>
                </c:pt>
                <c:pt idx="166">
                  <c:v>1.408748327111</c:v>
                </c:pt>
                <c:pt idx="167">
                  <c:v>2.8213121923000002</c:v>
                </c:pt>
                <c:pt idx="168">
                  <c:v>2.824938557586</c:v>
                </c:pt>
                <c:pt idx="169">
                  <c:v>2.8293345405160002</c:v>
                </c:pt>
                <c:pt idx="170">
                  <c:v>5.6968695701709997</c:v>
                </c:pt>
                <c:pt idx="171">
                  <c:v>2.8655347804279998</c:v>
                </c:pt>
                <c:pt idx="172">
                  <c:v>1.4419402748329999</c:v>
                </c:pt>
                <c:pt idx="173">
                  <c:v>0</c:v>
                </c:pt>
                <c:pt idx="174">
                  <c:v>1.4476808153330001</c:v>
                </c:pt>
                <c:pt idx="175">
                  <c:v>4.3685927306609997</c:v>
                </c:pt>
                <c:pt idx="176">
                  <c:v>1.464214595291</c:v>
                </c:pt>
                <c:pt idx="177">
                  <c:v>0</c:v>
                </c:pt>
                <c:pt idx="178">
                  <c:v>5.9350703305829997</c:v>
                </c:pt>
                <c:pt idx="179">
                  <c:v>2.9879734070359998</c:v>
                </c:pt>
                <c:pt idx="180">
                  <c:v>1.496849132575</c:v>
                </c:pt>
                <c:pt idx="181">
                  <c:v>0</c:v>
                </c:pt>
                <c:pt idx="182">
                  <c:v>0</c:v>
                </c:pt>
                <c:pt idx="183">
                  <c:v>3.0436767615270002</c:v>
                </c:pt>
                <c:pt idx="184">
                  <c:v>7.663774868949</c:v>
                </c:pt>
                <c:pt idx="185">
                  <c:v>0</c:v>
                </c:pt>
                <c:pt idx="186">
                  <c:v>4.6613527245600004</c:v>
                </c:pt>
                <c:pt idx="187">
                  <c:v>1.5586277840980001</c:v>
                </c:pt>
                <c:pt idx="188">
                  <c:v>0</c:v>
                </c:pt>
                <c:pt idx="189">
                  <c:v>12.559658377291999</c:v>
                </c:pt>
                <c:pt idx="190">
                  <c:v>1.5794544564299999</c:v>
                </c:pt>
                <c:pt idx="191">
                  <c:v>4.7681108744709997</c:v>
                </c:pt>
                <c:pt idx="192">
                  <c:v>3.195500734965</c:v>
                </c:pt>
                <c:pt idx="193">
                  <c:v>9.6393284601169995</c:v>
                </c:pt>
                <c:pt idx="194">
                  <c:v>4.8302178428240001</c:v>
                </c:pt>
                <c:pt idx="195">
                  <c:v>1.6130853483450001</c:v>
                </c:pt>
                <c:pt idx="196">
                  <c:v>4.860897321645</c:v>
                </c:pt>
                <c:pt idx="197">
                  <c:v>3.256745534187</c:v>
                </c:pt>
                <c:pt idx="198">
                  <c:v>4.9114305360000001</c:v>
                </c:pt>
                <c:pt idx="199">
                  <c:v>0</c:v>
                </c:pt>
                <c:pt idx="200">
                  <c:v>3.3107649522420002</c:v>
                </c:pt>
                <c:pt idx="201">
                  <c:v>0</c:v>
                </c:pt>
                <c:pt idx="202">
                  <c:v>0</c:v>
                </c:pt>
                <c:pt idx="203">
                  <c:v>3.345992337677</c:v>
                </c:pt>
                <c:pt idx="204">
                  <c:v>3.3634360863050001</c:v>
                </c:pt>
                <c:pt idx="205">
                  <c:v>3.3843810813089998</c:v>
                </c:pt>
                <c:pt idx="206">
                  <c:v>5.1039504576540002</c:v>
                </c:pt>
                <c:pt idx="207">
                  <c:v>1.7121821761830001</c:v>
                </c:pt>
                <c:pt idx="208">
                  <c:v>0</c:v>
                </c:pt>
                <c:pt idx="209">
                  <c:v>3.4348326377789999</c:v>
                </c:pt>
                <c:pt idx="210">
                  <c:v>0</c:v>
                </c:pt>
                <c:pt idx="211">
                  <c:v>1.734996616756</c:v>
                </c:pt>
                <c:pt idx="212">
                  <c:v>3.4885140674319999</c:v>
                </c:pt>
                <c:pt idx="213">
                  <c:v>14.026966843757</c:v>
                </c:pt>
                <c:pt idx="214">
                  <c:v>7.0606509920210003</c:v>
                </c:pt>
                <c:pt idx="215">
                  <c:v>8.8361078712039998</c:v>
                </c:pt>
                <c:pt idx="216">
                  <c:v>1.7688157778360001</c:v>
                </c:pt>
                <c:pt idx="217">
                  <c:v>7.1109846936050003</c:v>
                </c:pt>
                <c:pt idx="218">
                  <c:v>8.9295281637309998</c:v>
                </c:pt>
                <c:pt idx="219">
                  <c:v>1.793400286944</c:v>
                </c:pt>
                <c:pt idx="220">
                  <c:v>5.4013179215719997</c:v>
                </c:pt>
                <c:pt idx="221">
                  <c:v>1.8081547780489999</c:v>
                </c:pt>
                <c:pt idx="222">
                  <c:v>1.8093980132800001</c:v>
                </c:pt>
                <c:pt idx="223">
                  <c:v>3.6212203512580001</c:v>
                </c:pt>
                <c:pt idx="224">
                  <c:v>3.6302252554769998</c:v>
                </c:pt>
                <c:pt idx="225">
                  <c:v>7.2804047905060001</c:v>
                </c:pt>
                <c:pt idx="226">
                  <c:v>5.4710581026370004</c:v>
                </c:pt>
                <c:pt idx="227">
                  <c:v>9.1387629770429992</c:v>
                </c:pt>
                <c:pt idx="228">
                  <c:v>12.823566050524001</c:v>
                </c:pt>
                <c:pt idx="229">
                  <c:v>3.6645473367900001</c:v>
                </c:pt>
                <c:pt idx="230">
                  <c:v>7.3284232897289998</c:v>
                </c:pt>
                <c:pt idx="231">
                  <c:v>14.686444411807001</c:v>
                </c:pt>
                <c:pt idx="232">
                  <c:v>14.708315713996001</c:v>
                </c:pt>
                <c:pt idx="233">
                  <c:v>12.889208050231</c:v>
                </c:pt>
                <c:pt idx="234">
                  <c:v>9.2206690517460004</c:v>
                </c:pt>
                <c:pt idx="235">
                  <c:v>11.087908635631999</c:v>
                </c:pt>
                <c:pt idx="236">
                  <c:v>9.2397531137960005</c:v>
                </c:pt>
                <c:pt idx="237">
                  <c:v>9.2390701799770003</c:v>
                </c:pt>
                <c:pt idx="238">
                  <c:v>7.3998705022660003</c:v>
                </c:pt>
                <c:pt idx="239">
                  <c:v>12.969928294823999</c:v>
                </c:pt>
                <c:pt idx="240">
                  <c:v>22.264276967604999</c:v>
                </c:pt>
                <c:pt idx="241">
                  <c:v>35.306797487642001</c:v>
                </c:pt>
                <c:pt idx="242">
                  <c:v>29.795158286778001</c:v>
                </c:pt>
                <c:pt idx="243">
                  <c:v>13.040481380055001</c:v>
                </c:pt>
                <c:pt idx="244">
                  <c:v>9.3177540485639998</c:v>
                </c:pt>
                <c:pt idx="245">
                  <c:v>18.671695576674999</c:v>
                </c:pt>
                <c:pt idx="246">
                  <c:v>26.180458158017</c:v>
                </c:pt>
                <c:pt idx="247">
                  <c:v>20.598479457698001</c:v>
                </c:pt>
                <c:pt idx="248">
                  <c:v>13.132961858126</c:v>
                </c:pt>
                <c:pt idx="249">
                  <c:v>16.925565125813002</c:v>
                </c:pt>
                <c:pt idx="250">
                  <c:v>7.5258701787389999</c:v>
                </c:pt>
                <c:pt idx="251">
                  <c:v>9.4107018501430009</c:v>
                </c:pt>
                <c:pt idx="252">
                  <c:v>33.931533705322998</c:v>
                </c:pt>
                <c:pt idx="253">
                  <c:v>49.019607843137003</c:v>
                </c:pt>
                <c:pt idx="254">
                  <c:v>30.228603816361002</c:v>
                </c:pt>
                <c:pt idx="255">
                  <c:v>45.410682863143002</c:v>
                </c:pt>
                <c:pt idx="256">
                  <c:v>22.742348147445998</c:v>
                </c:pt>
                <c:pt idx="257">
                  <c:v>15.166739340626</c:v>
                </c:pt>
                <c:pt idx="258">
                  <c:v>22.755285863278001</c:v>
                </c:pt>
                <c:pt idx="259">
                  <c:v>94.948727687048006</c:v>
                </c:pt>
                <c:pt idx="260">
                  <c:v>79.875242478413995</c:v>
                </c:pt>
                <c:pt idx="261">
                  <c:v>76.168713700846993</c:v>
                </c:pt>
                <c:pt idx="262">
                  <c:v>102.96501096386601</c:v>
                </c:pt>
                <c:pt idx="263">
                  <c:v>84.056088335306995</c:v>
                </c:pt>
                <c:pt idx="264">
                  <c:v>53.508637822962001</c:v>
                </c:pt>
                <c:pt idx="265">
                  <c:v>34.404327299833</c:v>
                </c:pt>
                <c:pt idx="266">
                  <c:v>107.19754977029</c:v>
                </c:pt>
                <c:pt idx="267">
                  <c:v>136.07789021772399</c:v>
                </c:pt>
                <c:pt idx="268">
                  <c:v>143.901456282737</c:v>
                </c:pt>
                <c:pt idx="269">
                  <c:v>80.704046731486002</c:v>
                </c:pt>
                <c:pt idx="270">
                  <c:v>157.898790726334</c:v>
                </c:pt>
                <c:pt idx="271">
                  <c:v>121.363899056058</c:v>
                </c:pt>
                <c:pt idx="272">
                  <c:v>61.658220774965997</c:v>
                </c:pt>
                <c:pt idx="273">
                  <c:v>202.56192607454199</c:v>
                </c:pt>
                <c:pt idx="274">
                  <c:v>225.87308635301801</c:v>
                </c:pt>
                <c:pt idx="275">
                  <c:v>212.65489976221301</c:v>
                </c:pt>
                <c:pt idx="276">
                  <c:v>174.32401022700799</c:v>
                </c:pt>
                <c:pt idx="277">
                  <c:v>201.96527750805899</c:v>
                </c:pt>
                <c:pt idx="278">
                  <c:v>106.883283454467</c:v>
                </c:pt>
                <c:pt idx="279">
                  <c:v>42.779084916483001</c:v>
                </c:pt>
                <c:pt idx="280">
                  <c:v>216.222533894343</c:v>
                </c:pt>
                <c:pt idx="281">
                  <c:v>224.626923978435</c:v>
                </c:pt>
                <c:pt idx="282">
                  <c:v>246.874877542223</c:v>
                </c:pt>
                <c:pt idx="283">
                  <c:v>200.00784344484001</c:v>
                </c:pt>
                <c:pt idx="284">
                  <c:v>294.92145258646099</c:v>
                </c:pt>
                <c:pt idx="285">
                  <c:v>157.455518815934</c:v>
                </c:pt>
                <c:pt idx="286">
                  <c:v>80.757942839134003</c:v>
                </c:pt>
                <c:pt idx="287">
                  <c:v>304.22757803239801</c:v>
                </c:pt>
                <c:pt idx="288">
                  <c:v>366.45273750099</c:v>
                </c:pt>
                <c:pt idx="289">
                  <c:v>244.30452658549601</c:v>
                </c:pt>
                <c:pt idx="290">
                  <c:v>292.94539657233901</c:v>
                </c:pt>
                <c:pt idx="291">
                  <c:v>534.38475702505798</c:v>
                </c:pt>
                <c:pt idx="292">
                  <c:v>264.50785508175602</c:v>
                </c:pt>
                <c:pt idx="293">
                  <c:v>140.37902336307999</c:v>
                </c:pt>
                <c:pt idx="294">
                  <c:v>333.94355146955201</c:v>
                </c:pt>
                <c:pt idx="295">
                  <c:v>435.51899346721501</c:v>
                </c:pt>
                <c:pt idx="296">
                  <c:v>289.14006106314503</c:v>
                </c:pt>
                <c:pt idx="297">
                  <c:v>438.20498255294899</c:v>
                </c:pt>
                <c:pt idx="298">
                  <c:v>277.21722823539</c:v>
                </c:pt>
                <c:pt idx="299">
                  <c:v>177.56551555228901</c:v>
                </c:pt>
                <c:pt idx="300">
                  <c:v>116.447731312182</c:v>
                </c:pt>
                <c:pt idx="301">
                  <c:v>359.033277255754</c:v>
                </c:pt>
                <c:pt idx="302">
                  <c:v>346.34890529006702</c:v>
                </c:pt>
                <c:pt idx="303">
                  <c:v>317.90594938276701</c:v>
                </c:pt>
                <c:pt idx="304">
                  <c:v>248.849073037202</c:v>
                </c:pt>
                <c:pt idx="305">
                  <c:v>262.97664516936902</c:v>
                </c:pt>
                <c:pt idx="306">
                  <c:v>152.595162942369</c:v>
                </c:pt>
                <c:pt idx="307">
                  <c:v>92.082958374317002</c:v>
                </c:pt>
                <c:pt idx="308">
                  <c:v>290.324616582163</c:v>
                </c:pt>
                <c:pt idx="309">
                  <c:v>289.65896357062798</c:v>
                </c:pt>
                <c:pt idx="310">
                  <c:v>233.89823300516699</c:v>
                </c:pt>
                <c:pt idx="311">
                  <c:v>205.41350165828601</c:v>
                </c:pt>
                <c:pt idx="312">
                  <c:v>196.14182562776099</c:v>
                </c:pt>
                <c:pt idx="313">
                  <c:v>129.53647531250601</c:v>
                </c:pt>
                <c:pt idx="314">
                  <c:v>84.286053899850003</c:v>
                </c:pt>
                <c:pt idx="315">
                  <c:v>204.00633721813401</c:v>
                </c:pt>
                <c:pt idx="316">
                  <c:v>289.89929813854098</c:v>
                </c:pt>
                <c:pt idx="317">
                  <c:v>177.36320042041601</c:v>
                </c:pt>
                <c:pt idx="318">
                  <c:v>156.212184550394</c:v>
                </c:pt>
                <c:pt idx="319">
                  <c:v>165.998981872911</c:v>
                </c:pt>
                <c:pt idx="320">
                  <c:v>101.986520042568</c:v>
                </c:pt>
                <c:pt idx="321">
                  <c:v>66.585284652091005</c:v>
                </c:pt>
                <c:pt idx="322">
                  <c:v>176.17412247446501</c:v>
                </c:pt>
                <c:pt idx="323">
                  <c:v>177.06652322036899</c:v>
                </c:pt>
                <c:pt idx="324">
                  <c:v>105.620351019124</c:v>
                </c:pt>
                <c:pt idx="325">
                  <c:v>130.99647664649001</c:v>
                </c:pt>
                <c:pt idx="326">
                  <c:v>36.405834034903997</c:v>
                </c:pt>
                <c:pt idx="327">
                  <c:v>43.324592406794999</c:v>
                </c:pt>
                <c:pt idx="328">
                  <c:v>34.254395980817002</c:v>
                </c:pt>
                <c:pt idx="329">
                  <c:v>96.356795448287997</c:v>
                </c:pt>
                <c:pt idx="330">
                  <c:v>186.74351585014401</c:v>
                </c:pt>
                <c:pt idx="331">
                  <c:v>169.19297269735301</c:v>
                </c:pt>
                <c:pt idx="332">
                  <c:v>100.256470039636</c:v>
                </c:pt>
                <c:pt idx="333">
                  <c:v>140.94432699083799</c:v>
                </c:pt>
                <c:pt idx="334">
                  <c:v>16.50476280298</c:v>
                </c:pt>
                <c:pt idx="335">
                  <c:v>49.634829468907</c:v>
                </c:pt>
                <c:pt idx="336">
                  <c:v>114.17969028759001</c:v>
                </c:pt>
                <c:pt idx="337">
                  <c:v>122.094275933063</c:v>
                </c:pt>
                <c:pt idx="338">
                  <c:v>118.052376707543</c:v>
                </c:pt>
                <c:pt idx="339">
                  <c:v>130.58934487678599</c:v>
                </c:pt>
                <c:pt idx="340">
                  <c:v>87.226206629190997</c:v>
                </c:pt>
                <c:pt idx="341">
                  <c:v>50.980772965623999</c:v>
                </c:pt>
                <c:pt idx="342">
                  <c:v>34.054146092285997</c:v>
                </c:pt>
                <c:pt idx="343">
                  <c:v>105.124193232935</c:v>
                </c:pt>
                <c:pt idx="344">
                  <c:v>159.760114044142</c:v>
                </c:pt>
                <c:pt idx="345">
                  <c:v>133.40580068185099</c:v>
                </c:pt>
                <c:pt idx="346">
                  <c:v>138.88199990079801</c:v>
                </c:pt>
                <c:pt idx="347">
                  <c:v>188.98420987193799</c:v>
                </c:pt>
                <c:pt idx="348">
                  <c:v>122.087953158091</c:v>
                </c:pt>
                <c:pt idx="349">
                  <c:v>102.377147423092</c:v>
                </c:pt>
                <c:pt idx="350">
                  <c:v>268.64847221873498</c:v>
                </c:pt>
                <c:pt idx="351">
                  <c:v>345.69770375977703</c:v>
                </c:pt>
                <c:pt idx="352">
                  <c:v>403.13379478207901</c:v>
                </c:pt>
                <c:pt idx="353">
                  <c:v>420.46786606187197</c:v>
                </c:pt>
                <c:pt idx="354">
                  <c:v>361.73324097591001</c:v>
                </c:pt>
                <c:pt idx="355">
                  <c:v>226.418978027067</c:v>
                </c:pt>
                <c:pt idx="356">
                  <c:v>214.011293608024</c:v>
                </c:pt>
                <c:pt idx="357">
                  <c:v>460.94882950072503</c:v>
                </c:pt>
                <c:pt idx="358">
                  <c:v>457.59450886589298</c:v>
                </c:pt>
                <c:pt idx="359">
                  <c:v>584.87166766756297</c:v>
                </c:pt>
                <c:pt idx="360">
                  <c:v>1145.26823387582</c:v>
                </c:pt>
                <c:pt idx="361">
                  <c:v>821.00942055681196</c:v>
                </c:pt>
                <c:pt idx="362">
                  <c:v>311.26351886045802</c:v>
                </c:pt>
                <c:pt idx="363">
                  <c:v>333.07779745697701</c:v>
                </c:pt>
                <c:pt idx="364">
                  <c:v>792.83005860048195</c:v>
                </c:pt>
                <c:pt idx="365">
                  <c:v>971.87923205608195</c:v>
                </c:pt>
                <c:pt idx="366">
                  <c:v>816.48936170212698</c:v>
                </c:pt>
                <c:pt idx="367">
                  <c:v>799.08371733745298</c:v>
                </c:pt>
                <c:pt idx="368">
                  <c:v>667.00461567193997</c:v>
                </c:pt>
                <c:pt idx="369">
                  <c:v>389.70745248772101</c:v>
                </c:pt>
                <c:pt idx="370">
                  <c:v>154.88970784596401</c:v>
                </c:pt>
                <c:pt idx="371">
                  <c:v>713.96101291547404</c:v>
                </c:pt>
                <c:pt idx="372">
                  <c:v>805.97654367268206</c:v>
                </c:pt>
                <c:pt idx="373">
                  <c:v>625.20124503595503</c:v>
                </c:pt>
                <c:pt idx="374">
                  <c:v>548.35761518197899</c:v>
                </c:pt>
                <c:pt idx="375">
                  <c:v>493.27475134100598</c:v>
                </c:pt>
                <c:pt idx="376">
                  <c:v>183.41200269723501</c:v>
                </c:pt>
                <c:pt idx="377">
                  <c:v>99.856961649528998</c:v>
                </c:pt>
                <c:pt idx="378">
                  <c:v>467.69397134360599</c:v>
                </c:pt>
                <c:pt idx="379">
                  <c:v>647.15279846199599</c:v>
                </c:pt>
                <c:pt idx="380">
                  <c:v>445.03541287888999</c:v>
                </c:pt>
                <c:pt idx="381">
                  <c:v>331.539757595521</c:v>
                </c:pt>
                <c:pt idx="382">
                  <c:v>313.26614001634402</c:v>
                </c:pt>
                <c:pt idx="383">
                  <c:v>144.477156253407</c:v>
                </c:pt>
                <c:pt idx="384">
                  <c:v>87.281455418269005</c:v>
                </c:pt>
                <c:pt idx="385">
                  <c:v>344.26229508196701</c:v>
                </c:pt>
                <c:pt idx="386">
                  <c:v>358.53084460014202</c:v>
                </c:pt>
                <c:pt idx="387">
                  <c:v>208.27624006577099</c:v>
                </c:pt>
                <c:pt idx="388">
                  <c:v>222.27710545813699</c:v>
                </c:pt>
                <c:pt idx="389">
                  <c:v>211.753705689849</c:v>
                </c:pt>
                <c:pt idx="390">
                  <c:v>101.810577293489</c:v>
                </c:pt>
                <c:pt idx="391">
                  <c:v>57.816199548482999</c:v>
                </c:pt>
                <c:pt idx="392">
                  <c:v>275.595976298746</c:v>
                </c:pt>
                <c:pt idx="393">
                  <c:v>309.03371778599399</c:v>
                </c:pt>
                <c:pt idx="394">
                  <c:v>218.23204419889501</c:v>
                </c:pt>
                <c:pt idx="395">
                  <c:v>179.77652395176401</c:v>
                </c:pt>
                <c:pt idx="396">
                  <c:v>163.425848983435</c:v>
                </c:pt>
                <c:pt idx="397">
                  <c:v>80.359122145865001</c:v>
                </c:pt>
                <c:pt idx="398">
                  <c:v>69.294306779753995</c:v>
                </c:pt>
                <c:pt idx="399">
                  <c:v>288.496213487197</c:v>
                </c:pt>
                <c:pt idx="400">
                  <c:v>213.74639129469199</c:v>
                </c:pt>
                <c:pt idx="401">
                  <c:v>186.09560314418201</c:v>
                </c:pt>
                <c:pt idx="402">
                  <c:v>150.10841163062199</c:v>
                </c:pt>
                <c:pt idx="403">
                  <c:v>144.701691896705</c:v>
                </c:pt>
                <c:pt idx="404">
                  <c:v>102.983745268314</c:v>
                </c:pt>
                <c:pt idx="405">
                  <c:v>52.895322939865999</c:v>
                </c:pt>
                <c:pt idx="406">
                  <c:v>239.540972647763</c:v>
                </c:pt>
                <c:pt idx="407">
                  <c:v>172.75006965728599</c:v>
                </c:pt>
                <c:pt idx="408">
                  <c:v>217.433724528196</c:v>
                </c:pt>
                <c:pt idx="409">
                  <c:v>170.13443409382401</c:v>
                </c:pt>
                <c:pt idx="410">
                  <c:v>153.5155050660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0B-4754-90A8-6FC4E50C7F8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12</c:f>
              <c:numCache>
                <c:formatCode>m/d/yyyy</c:formatCode>
                <c:ptCount val="41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  <c:pt idx="384">
                  <c:v>44612</c:v>
                </c:pt>
                <c:pt idx="385">
                  <c:v>44613</c:v>
                </c:pt>
                <c:pt idx="386">
                  <c:v>44614</c:v>
                </c:pt>
                <c:pt idx="387">
                  <c:v>44615</c:v>
                </c:pt>
                <c:pt idx="388">
                  <c:v>44616</c:v>
                </c:pt>
                <c:pt idx="389">
                  <c:v>44617</c:v>
                </c:pt>
                <c:pt idx="390">
                  <c:v>44618</c:v>
                </c:pt>
                <c:pt idx="391">
                  <c:v>44619</c:v>
                </c:pt>
                <c:pt idx="392">
                  <c:v>44620</c:v>
                </c:pt>
                <c:pt idx="393">
                  <c:v>44621</c:v>
                </c:pt>
                <c:pt idx="394">
                  <c:v>44622</c:v>
                </c:pt>
                <c:pt idx="395">
                  <c:v>44623</c:v>
                </c:pt>
                <c:pt idx="396">
                  <c:v>44624</c:v>
                </c:pt>
                <c:pt idx="397">
                  <c:v>44625</c:v>
                </c:pt>
                <c:pt idx="398">
                  <c:v>44626</c:v>
                </c:pt>
                <c:pt idx="399">
                  <c:v>44627</c:v>
                </c:pt>
                <c:pt idx="400">
                  <c:v>44628</c:v>
                </c:pt>
                <c:pt idx="401">
                  <c:v>44629</c:v>
                </c:pt>
                <c:pt idx="402">
                  <c:v>44630</c:v>
                </c:pt>
                <c:pt idx="403">
                  <c:v>44631</c:v>
                </c:pt>
                <c:pt idx="404">
                  <c:v>44632</c:v>
                </c:pt>
                <c:pt idx="405">
                  <c:v>44633</c:v>
                </c:pt>
                <c:pt idx="406">
                  <c:v>44634</c:v>
                </c:pt>
                <c:pt idx="407">
                  <c:v>44635</c:v>
                </c:pt>
                <c:pt idx="408">
                  <c:v>44636</c:v>
                </c:pt>
                <c:pt idx="409">
                  <c:v>44637</c:v>
                </c:pt>
                <c:pt idx="410">
                  <c:v>44638</c:v>
                </c:pt>
              </c:numCache>
            </c:numRef>
          </c:cat>
          <c:val>
            <c:numRef>
              <c:f>List1!$C$2:$C$412</c:f>
              <c:numCache>
                <c:formatCode>General</c:formatCode>
                <c:ptCount val="4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81750106275099998</c:v>
                </c:pt>
                <c:pt idx="9">
                  <c:v>0.81753113771700003</c:v>
                </c:pt>
                <c:pt idx="10">
                  <c:v>1.2263368093160001</c:v>
                </c:pt>
                <c:pt idx="11">
                  <c:v>2.4527638560709999</c:v>
                </c:pt>
                <c:pt idx="12">
                  <c:v>0.40880734545000003</c:v>
                </c:pt>
                <c:pt idx="13">
                  <c:v>0</c:v>
                </c:pt>
                <c:pt idx="14">
                  <c:v>1.2265072752320001</c:v>
                </c:pt>
                <c:pt idx="15">
                  <c:v>2.4530947834929999</c:v>
                </c:pt>
                <c:pt idx="16">
                  <c:v>0.81772835064100002</c:v>
                </c:pt>
                <c:pt idx="17">
                  <c:v>4.0887754935149996</c:v>
                </c:pt>
                <c:pt idx="18">
                  <c:v>2.8622364697989999</c:v>
                </c:pt>
                <c:pt idx="19">
                  <c:v>1.6356238882859999</c:v>
                </c:pt>
                <c:pt idx="20">
                  <c:v>0.40891934883600001</c:v>
                </c:pt>
                <c:pt idx="21">
                  <c:v>3.6804095886930002</c:v>
                </c:pt>
                <c:pt idx="22">
                  <c:v>5.7252688831630003</c:v>
                </c:pt>
                <c:pt idx="23">
                  <c:v>5.7254796111579997</c:v>
                </c:pt>
                <c:pt idx="24">
                  <c:v>4.0897620985380003</c:v>
                </c:pt>
                <c:pt idx="25">
                  <c:v>8.5887814155120008</c:v>
                </c:pt>
                <c:pt idx="26">
                  <c:v>3.6810418166350001</c:v>
                </c:pt>
                <c:pt idx="27">
                  <c:v>4.4991983246620002</c:v>
                </c:pt>
                <c:pt idx="28">
                  <c:v>8.1798252789320003</c:v>
                </c:pt>
                <c:pt idx="29">
                  <c:v>4.9075940928920003</c:v>
                </c:pt>
                <c:pt idx="30">
                  <c:v>7.7698488968849997</c:v>
                </c:pt>
                <c:pt idx="31">
                  <c:v>4.4978921241899998</c:v>
                </c:pt>
                <c:pt idx="32">
                  <c:v>6.5417198181399998</c:v>
                </c:pt>
                <c:pt idx="33">
                  <c:v>3.6793563579269999</c:v>
                </c:pt>
                <c:pt idx="34">
                  <c:v>1.6351090617740001</c:v>
                </c:pt>
                <c:pt idx="35">
                  <c:v>5.7223203191409997</c:v>
                </c:pt>
                <c:pt idx="36">
                  <c:v>6.9478218578469999</c:v>
                </c:pt>
                <c:pt idx="37">
                  <c:v>2.4519319180229999</c:v>
                </c:pt>
                <c:pt idx="38">
                  <c:v>6.129228657004</c:v>
                </c:pt>
                <c:pt idx="39">
                  <c:v>6.5372028126309996</c:v>
                </c:pt>
                <c:pt idx="40">
                  <c:v>2.8597458094510002</c:v>
                </c:pt>
                <c:pt idx="41">
                  <c:v>3.267947157294</c:v>
                </c:pt>
                <c:pt idx="42">
                  <c:v>8.5775203613989994</c:v>
                </c:pt>
                <c:pt idx="43">
                  <c:v>4.4925464570139999</c:v>
                </c:pt>
                <c:pt idx="44">
                  <c:v>3.2669862868249999</c:v>
                </c:pt>
                <c:pt idx="45">
                  <c:v>5.3083107730119998</c:v>
                </c:pt>
                <c:pt idx="46">
                  <c:v>6.1243737827800002</c:v>
                </c:pt>
                <c:pt idx="47">
                  <c:v>1.224754742862</c:v>
                </c:pt>
                <c:pt idx="48">
                  <c:v>1.632846336913</c:v>
                </c:pt>
                <c:pt idx="49">
                  <c:v>5.714402334741</c:v>
                </c:pt>
                <c:pt idx="50">
                  <c:v>5.7138192800579999</c:v>
                </c:pt>
                <c:pt idx="51">
                  <c:v>6.5294396108450004</c:v>
                </c:pt>
                <c:pt idx="52">
                  <c:v>4.080500106093</c:v>
                </c:pt>
                <c:pt idx="53">
                  <c:v>3.2640804269410002</c:v>
                </c:pt>
                <c:pt idx="54">
                  <c:v>3.2637475164919998</c:v>
                </c:pt>
                <c:pt idx="55">
                  <c:v>1.6317139931710001</c:v>
                </c:pt>
                <c:pt idx="56">
                  <c:v>4.07888564844</c:v>
                </c:pt>
                <c:pt idx="57">
                  <c:v>2.447091835278</c:v>
                </c:pt>
                <c:pt idx="58">
                  <c:v>4.893684699894</c:v>
                </c:pt>
                <c:pt idx="59">
                  <c:v>2.0386611704359998</c:v>
                </c:pt>
                <c:pt idx="60">
                  <c:v>1.222967326389</c:v>
                </c:pt>
                <c:pt idx="61">
                  <c:v>3.6682141095810001</c:v>
                </c:pt>
                <c:pt idx="62">
                  <c:v>0.40750460480200001</c:v>
                </c:pt>
                <c:pt idx="63">
                  <c:v>1.222284694551</c:v>
                </c:pt>
                <c:pt idx="64">
                  <c:v>3.666166981685</c:v>
                </c:pt>
                <c:pt idx="65">
                  <c:v>2.8509406067610001</c:v>
                </c:pt>
                <c:pt idx="66">
                  <c:v>4.0720094144849996</c:v>
                </c:pt>
                <c:pt idx="67">
                  <c:v>2.0356234096689998</c:v>
                </c:pt>
                <c:pt idx="68">
                  <c:v>2.035242254885</c:v>
                </c:pt>
                <c:pt idx="69">
                  <c:v>0.813947809666</c:v>
                </c:pt>
                <c:pt idx="70">
                  <c:v>3.6620795729200002</c:v>
                </c:pt>
                <c:pt idx="71">
                  <c:v>2.0341079216289999</c:v>
                </c:pt>
                <c:pt idx="72">
                  <c:v>2.0337356062360001</c:v>
                </c:pt>
                <c:pt idx="73">
                  <c:v>2.4400261896140001</c:v>
                </c:pt>
                <c:pt idx="74">
                  <c:v>2.0329748521009998</c:v>
                </c:pt>
                <c:pt idx="75">
                  <c:v>2.439113626108</c:v>
                </c:pt>
                <c:pt idx="76">
                  <c:v>1.62577834138</c:v>
                </c:pt>
                <c:pt idx="77">
                  <c:v>2.8445802618629998</c:v>
                </c:pt>
                <c:pt idx="78">
                  <c:v>2.8440486251050001</c:v>
                </c:pt>
                <c:pt idx="79">
                  <c:v>4.8746206935769996</c:v>
                </c:pt>
                <c:pt idx="80">
                  <c:v>1.6245699966289999</c:v>
                </c:pt>
                <c:pt idx="81">
                  <c:v>2.0303331776740001</c:v>
                </c:pt>
                <c:pt idx="82">
                  <c:v>0.40599080024799999</c:v>
                </c:pt>
                <c:pt idx="83">
                  <c:v>0.40591664095800001</c:v>
                </c:pt>
                <c:pt idx="84">
                  <c:v>2.8408860317690001</c:v>
                </c:pt>
                <c:pt idx="85">
                  <c:v>2.8403557748489998</c:v>
                </c:pt>
                <c:pt idx="86">
                  <c:v>1.217073101467</c:v>
                </c:pt>
                <c:pt idx="87">
                  <c:v>4.0561533874959999</c:v>
                </c:pt>
                <c:pt idx="88">
                  <c:v>2.4332380315100002</c:v>
                </c:pt>
                <c:pt idx="89">
                  <c:v>0.810974101542</c:v>
                </c:pt>
                <c:pt idx="90">
                  <c:v>1.6220337058600001</c:v>
                </c:pt>
                <c:pt idx="91">
                  <c:v>2.8387201427469999</c:v>
                </c:pt>
                <c:pt idx="92">
                  <c:v>4.4610811227319997</c:v>
                </c:pt>
                <c:pt idx="93">
                  <c:v>3.2446068550430001</c:v>
                </c:pt>
                <c:pt idx="94">
                  <c:v>1.2167917258159999</c:v>
                </c:pt>
                <c:pt idx="95">
                  <c:v>1.622481098095</c:v>
                </c:pt>
                <c:pt idx="96">
                  <c:v>0</c:v>
                </c:pt>
                <c:pt idx="97">
                  <c:v>0</c:v>
                </c:pt>
                <c:pt idx="98">
                  <c:v>2.0284304816300001</c:v>
                </c:pt>
                <c:pt idx="99">
                  <c:v>1.2171224790349999</c:v>
                </c:pt>
                <c:pt idx="100">
                  <c:v>2.434383228722</c:v>
                </c:pt>
                <c:pt idx="101">
                  <c:v>2.4345116369649999</c:v>
                </c:pt>
                <c:pt idx="102">
                  <c:v>0.81154997930499995</c:v>
                </c:pt>
                <c:pt idx="103">
                  <c:v>0.81159279143200003</c:v>
                </c:pt>
                <c:pt idx="104">
                  <c:v>0.40581945092600002</c:v>
                </c:pt>
                <c:pt idx="105">
                  <c:v>3.24672689345</c:v>
                </c:pt>
                <c:pt idx="106">
                  <c:v>1.2175917658319999</c:v>
                </c:pt>
                <c:pt idx="107">
                  <c:v>1.2176560121760001</c:v>
                </c:pt>
                <c:pt idx="108">
                  <c:v>1.6236336108389999</c:v>
                </c:pt>
                <c:pt idx="109">
                  <c:v>0.40592982285200002</c:v>
                </c:pt>
                <c:pt idx="110">
                  <c:v>0.40595124525499998</c:v>
                </c:pt>
                <c:pt idx="111">
                  <c:v>0</c:v>
                </c:pt>
                <c:pt idx="112">
                  <c:v>1.2179872354929999</c:v>
                </c:pt>
                <c:pt idx="113">
                  <c:v>0.81203764606499995</c:v>
                </c:pt>
                <c:pt idx="114">
                  <c:v>0.81208050966099998</c:v>
                </c:pt>
                <c:pt idx="115">
                  <c:v>1.2181900132779999</c:v>
                </c:pt>
                <c:pt idx="116">
                  <c:v>1.6243390970289999</c:v>
                </c:pt>
                <c:pt idx="117">
                  <c:v>0.406107862248</c:v>
                </c:pt>
                <c:pt idx="118">
                  <c:v>0</c:v>
                </c:pt>
                <c:pt idx="119">
                  <c:v>0.81230149382200001</c:v>
                </c:pt>
                <c:pt idx="120">
                  <c:v>0</c:v>
                </c:pt>
                <c:pt idx="121">
                  <c:v>0</c:v>
                </c:pt>
                <c:pt idx="122">
                  <c:v>1.21852647654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40620849056899999</c:v>
                </c:pt>
                <c:pt idx="127">
                  <c:v>0.40621509089000002</c:v>
                </c:pt>
                <c:pt idx="128">
                  <c:v>0</c:v>
                </c:pt>
                <c:pt idx="129">
                  <c:v>0</c:v>
                </c:pt>
                <c:pt idx="131">
                  <c:v>0.40624809571199999</c:v>
                </c:pt>
                <c:pt idx="132">
                  <c:v>0.40625634775500002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406304216218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406376865777</c:v>
                </c:pt>
                <c:pt idx="148">
                  <c:v>0</c:v>
                </c:pt>
                <c:pt idx="150">
                  <c:v>0.40637521436200003</c:v>
                </c:pt>
                <c:pt idx="151">
                  <c:v>0.81269758709999995</c:v>
                </c:pt>
                <c:pt idx="153">
                  <c:v>0.40629761300099998</c:v>
                </c:pt>
                <c:pt idx="154">
                  <c:v>0.81254240455600002</c:v>
                </c:pt>
                <c:pt idx="155">
                  <c:v>0</c:v>
                </c:pt>
                <c:pt idx="156">
                  <c:v>0.40622004127099998</c:v>
                </c:pt>
                <c:pt idx="157">
                  <c:v>1.624774562529</c:v>
                </c:pt>
                <c:pt idx="158">
                  <c:v>0.40616724342400001</c:v>
                </c:pt>
                <c:pt idx="159">
                  <c:v>0</c:v>
                </c:pt>
                <c:pt idx="160">
                  <c:v>0.40611610859500002</c:v>
                </c:pt>
                <c:pt idx="161">
                  <c:v>1.6243588858519999</c:v>
                </c:pt>
                <c:pt idx="162">
                  <c:v>0.40606498664000001</c:v>
                </c:pt>
                <c:pt idx="163">
                  <c:v>1.6241544246020001</c:v>
                </c:pt>
                <c:pt idx="164">
                  <c:v>0.406012229088</c:v>
                </c:pt>
                <c:pt idx="165">
                  <c:v>2.029937518523</c:v>
                </c:pt>
                <c:pt idx="166">
                  <c:v>0</c:v>
                </c:pt>
                <c:pt idx="167">
                  <c:v>0.40593476628300001</c:v>
                </c:pt>
                <c:pt idx="168">
                  <c:v>2.0295502516639998</c:v>
                </c:pt>
                <c:pt idx="169">
                  <c:v>2.029418449849</c:v>
                </c:pt>
                <c:pt idx="170">
                  <c:v>0.81171466605999998</c:v>
                </c:pt>
                <c:pt idx="171">
                  <c:v>2.0291631325399999</c:v>
                </c:pt>
                <c:pt idx="172">
                  <c:v>1.217418828599</c:v>
                </c:pt>
                <c:pt idx="173">
                  <c:v>0.405779929313</c:v>
                </c:pt>
                <c:pt idx="174">
                  <c:v>0</c:v>
                </c:pt>
                <c:pt idx="175">
                  <c:v>2.0286444597709998</c:v>
                </c:pt>
                <c:pt idx="176">
                  <c:v>0.81140511022899997</c:v>
                </c:pt>
                <c:pt idx="177">
                  <c:v>0.81135573486500001</c:v>
                </c:pt>
                <c:pt idx="178">
                  <c:v>0.405651537216</c:v>
                </c:pt>
                <c:pt idx="179">
                  <c:v>0.81125042083599996</c:v>
                </c:pt>
                <c:pt idx="180">
                  <c:v>0.405598887036</c:v>
                </c:pt>
                <c:pt idx="181">
                  <c:v>0.40561698399399998</c:v>
                </c:pt>
                <c:pt idx="182">
                  <c:v>0.81127016513399997</c:v>
                </c:pt>
                <c:pt idx="183">
                  <c:v>1.622606148866</c:v>
                </c:pt>
                <c:pt idx="184">
                  <c:v>1.6226785554909999</c:v>
                </c:pt>
                <c:pt idx="185">
                  <c:v>1.2170582889779999</c:v>
                </c:pt>
                <c:pt idx="186">
                  <c:v>0.81140840213400001</c:v>
                </c:pt>
                <c:pt idx="187">
                  <c:v>0</c:v>
                </c:pt>
                <c:pt idx="188">
                  <c:v>0.811477538301</c:v>
                </c:pt>
                <c:pt idx="189">
                  <c:v>1.217265696641</c:v>
                </c:pt>
                <c:pt idx="190">
                  <c:v>0.81154668625100002</c:v>
                </c:pt>
                <c:pt idx="191">
                  <c:v>1.6231658226200001</c:v>
                </c:pt>
                <c:pt idx="192">
                  <c:v>0.81161584598699998</c:v>
                </c:pt>
                <c:pt idx="193">
                  <c:v>1.2174781158300001</c:v>
                </c:pt>
                <c:pt idx="194">
                  <c:v>0.40584250875599998</c:v>
                </c:pt>
                <c:pt idx="195">
                  <c:v>0.40586062746000001</c:v>
                </c:pt>
                <c:pt idx="196">
                  <c:v>1.2176313012410001</c:v>
                </c:pt>
                <c:pt idx="197">
                  <c:v>0.40589522220699997</c:v>
                </c:pt>
                <c:pt idx="198">
                  <c:v>0</c:v>
                </c:pt>
                <c:pt idx="199">
                  <c:v>1.217789468556</c:v>
                </c:pt>
                <c:pt idx="200">
                  <c:v>0.40594630142299998</c:v>
                </c:pt>
                <c:pt idx="201">
                  <c:v>0.40596442939600003</c:v>
                </c:pt>
                <c:pt idx="202">
                  <c:v>0.81196511797799997</c:v>
                </c:pt>
                <c:pt idx="203">
                  <c:v>1.624002760804</c:v>
                </c:pt>
                <c:pt idx="204">
                  <c:v>1.2180564690969999</c:v>
                </c:pt>
                <c:pt idx="205">
                  <c:v>1.6241412353210001</c:v>
                </c:pt>
                <c:pt idx="206">
                  <c:v>0.40605344475400001</c:v>
                </c:pt>
                <c:pt idx="207">
                  <c:v>1.218209800091</c:v>
                </c:pt>
                <c:pt idx="208">
                  <c:v>0.40608807238099998</c:v>
                </c:pt>
                <c:pt idx="209">
                  <c:v>0</c:v>
                </c:pt>
                <c:pt idx="210">
                  <c:v>0.40612270591400002</c:v>
                </c:pt>
                <c:pt idx="211">
                  <c:v>2.4368352008960001</c:v>
                </c:pt>
                <c:pt idx="212">
                  <c:v>2.0305145730029999</c:v>
                </c:pt>
                <c:pt idx="213">
                  <c:v>1.6242665421389999</c:v>
                </c:pt>
                <c:pt idx="214">
                  <c:v>3.2482429036039999</c:v>
                </c:pt>
                <c:pt idx="215">
                  <c:v>1.623976387383</c:v>
                </c:pt>
                <c:pt idx="216">
                  <c:v>0.81191567443799995</c:v>
                </c:pt>
                <c:pt idx="217">
                  <c:v>1.2177647522049999</c:v>
                </c:pt>
                <c:pt idx="218">
                  <c:v>2.8411858297879999</c:v>
                </c:pt>
                <c:pt idx="219">
                  <c:v>0.40584745006</c:v>
                </c:pt>
                <c:pt idx="220">
                  <c:v>1.6232514538239999</c:v>
                </c:pt>
                <c:pt idx="221">
                  <c:v>1.623106544771</c:v>
                </c:pt>
                <c:pt idx="222">
                  <c:v>1.2172212461909999</c:v>
                </c:pt>
                <c:pt idx="223">
                  <c:v>1.217112603201</c:v>
                </c:pt>
                <c:pt idx="224">
                  <c:v>2.839664432797</c:v>
                </c:pt>
                <c:pt idx="225">
                  <c:v>2.4337808785939998</c:v>
                </c:pt>
                <c:pt idx="226">
                  <c:v>2.0279779842710002</c:v>
                </c:pt>
                <c:pt idx="227">
                  <c:v>4.4611534920690001</c:v>
                </c:pt>
                <c:pt idx="228">
                  <c:v>1.216579546053</c:v>
                </c:pt>
                <c:pt idx="229">
                  <c:v>1.216471017578</c:v>
                </c:pt>
                <c:pt idx="230">
                  <c:v>1.621810102255</c:v>
                </c:pt>
                <c:pt idx="231">
                  <c:v>3.2466214845170001</c:v>
                </c:pt>
                <c:pt idx="232">
                  <c:v>4.062629496315</c:v>
                </c:pt>
                <c:pt idx="233">
                  <c:v>3.2532756419109998</c:v>
                </c:pt>
                <c:pt idx="234">
                  <c:v>3.2579657262000001</c:v>
                </c:pt>
                <c:pt idx="235">
                  <c:v>2.8537649313050002</c:v>
                </c:pt>
                <c:pt idx="236">
                  <c:v>1.630882388916</c:v>
                </c:pt>
                <c:pt idx="237">
                  <c:v>1.631068594589</c:v>
                </c:pt>
                <c:pt idx="238">
                  <c:v>4.9025615884290001</c:v>
                </c:pt>
                <c:pt idx="239">
                  <c:v>4.0856682927619996</c:v>
                </c:pt>
                <c:pt idx="240">
                  <c:v>4.0979575779430002</c:v>
                </c:pt>
                <c:pt idx="241">
                  <c:v>7.3985170083679996</c:v>
                </c:pt>
                <c:pt idx="242">
                  <c:v>1.653664727744</c:v>
                </c:pt>
                <c:pt idx="243">
                  <c:v>2.8946432558940001</c:v>
                </c:pt>
                <c:pt idx="244">
                  <c:v>4.1359571845709997</c:v>
                </c:pt>
                <c:pt idx="245">
                  <c:v>4.153134370509</c:v>
                </c:pt>
                <c:pt idx="246">
                  <c:v>5.0069262479759997</c:v>
                </c:pt>
                <c:pt idx="247">
                  <c:v>5.4564533053510003</c:v>
                </c:pt>
                <c:pt idx="248">
                  <c:v>8.0169452906770005</c:v>
                </c:pt>
                <c:pt idx="249">
                  <c:v>6.8223003944140004</c:v>
                </c:pt>
                <c:pt idx="250">
                  <c:v>2.5609615556979999</c:v>
                </c:pt>
                <c:pt idx="251">
                  <c:v>2.1350276913089998</c:v>
                </c:pt>
                <c:pt idx="252">
                  <c:v>9.4423842878720006</c:v>
                </c:pt>
                <c:pt idx="253">
                  <c:v>14.246244171991</c:v>
                </c:pt>
                <c:pt idx="254">
                  <c:v>13.900170711471</c:v>
                </c:pt>
                <c:pt idx="255">
                  <c:v>10.062342775894001</c:v>
                </c:pt>
                <c:pt idx="256">
                  <c:v>11.0442077548</c:v>
                </c:pt>
                <c:pt idx="257">
                  <c:v>6.1938680706099998</c:v>
                </c:pt>
                <c:pt idx="258">
                  <c:v>7.083877537467</c:v>
                </c:pt>
                <c:pt idx="259">
                  <c:v>17.819197512439999</c:v>
                </c:pt>
                <c:pt idx="260">
                  <c:v>25.113233777299001</c:v>
                </c:pt>
                <c:pt idx="261">
                  <c:v>19.898157611496998</c:v>
                </c:pt>
                <c:pt idx="262">
                  <c:v>29.238430261775001</c:v>
                </c:pt>
                <c:pt idx="263">
                  <c:v>25.478651206529001</c:v>
                </c:pt>
                <c:pt idx="264">
                  <c:v>20.426448536955</c:v>
                </c:pt>
                <c:pt idx="265">
                  <c:v>12.085715613813999</c:v>
                </c:pt>
                <c:pt idx="266">
                  <c:v>50.181262222889004</c:v>
                </c:pt>
                <c:pt idx="267">
                  <c:v>45.926943017447002</c:v>
                </c:pt>
                <c:pt idx="268">
                  <c:v>37.476577139287002</c:v>
                </c:pt>
                <c:pt idx="269">
                  <c:v>24.066693621363001</c:v>
                </c:pt>
                <c:pt idx="270">
                  <c:v>50.084852492815003</c:v>
                </c:pt>
                <c:pt idx="271">
                  <c:v>33.121130794370998</c:v>
                </c:pt>
                <c:pt idx="272">
                  <c:v>28.294891308589001</c:v>
                </c:pt>
                <c:pt idx="273">
                  <c:v>85.089639229765993</c:v>
                </c:pt>
                <c:pt idx="274">
                  <c:v>70.016883503822996</c:v>
                </c:pt>
                <c:pt idx="275">
                  <c:v>66.297676567788997</c:v>
                </c:pt>
                <c:pt idx="276">
                  <c:v>70.339618025291003</c:v>
                </c:pt>
                <c:pt idx="277">
                  <c:v>84.180332979983007</c:v>
                </c:pt>
                <c:pt idx="278">
                  <c:v>47.941636268890001</c:v>
                </c:pt>
                <c:pt idx="279">
                  <c:v>29.228625262927</c:v>
                </c:pt>
                <c:pt idx="280">
                  <c:v>95.313322801474001</c:v>
                </c:pt>
                <c:pt idx="281">
                  <c:v>101.562790796603</c:v>
                </c:pt>
                <c:pt idx="282">
                  <c:v>108.11857541674</c:v>
                </c:pt>
                <c:pt idx="283">
                  <c:v>73.983005668402996</c:v>
                </c:pt>
                <c:pt idx="284">
                  <c:v>103.092783505154</c:v>
                </c:pt>
                <c:pt idx="285">
                  <c:v>77.764816974948005</c:v>
                </c:pt>
                <c:pt idx="286">
                  <c:v>43.386602439661999</c:v>
                </c:pt>
                <c:pt idx="287">
                  <c:v>105.468662343199</c:v>
                </c:pt>
                <c:pt idx="288">
                  <c:v>138.17495337306099</c:v>
                </c:pt>
                <c:pt idx="289">
                  <c:v>90.597774371656001</c:v>
                </c:pt>
                <c:pt idx="290">
                  <c:v>120.361198774504</c:v>
                </c:pt>
                <c:pt idx="291">
                  <c:v>144.01882782724701</c:v>
                </c:pt>
                <c:pt idx="292">
                  <c:v>94.539603873187005</c:v>
                </c:pt>
                <c:pt idx="293">
                  <c:v>65.266091619481003</c:v>
                </c:pt>
                <c:pt idx="294">
                  <c:v>142.38337911354401</c:v>
                </c:pt>
                <c:pt idx="295">
                  <c:v>161.34836852207201</c:v>
                </c:pt>
                <c:pt idx="296">
                  <c:v>112.763493728288</c:v>
                </c:pt>
                <c:pt idx="297">
                  <c:v>163.185178368761</c:v>
                </c:pt>
                <c:pt idx="298">
                  <c:v>128.42278032187099</c:v>
                </c:pt>
                <c:pt idx="299">
                  <c:v>88.000502860015999</c:v>
                </c:pt>
                <c:pt idx="300">
                  <c:v>71.859005067949994</c:v>
                </c:pt>
                <c:pt idx="301">
                  <c:v>151.576909359555</c:v>
                </c:pt>
                <c:pt idx="302">
                  <c:v>121.721881601318</c:v>
                </c:pt>
                <c:pt idx="303">
                  <c:v>123.070912287556</c:v>
                </c:pt>
                <c:pt idx="304">
                  <c:v>98.341396447828998</c:v>
                </c:pt>
                <c:pt idx="305">
                  <c:v>121.050638389958</c:v>
                </c:pt>
                <c:pt idx="306">
                  <c:v>71.276805169943998</c:v>
                </c:pt>
                <c:pt idx="307">
                  <c:v>51.717567641134004</c:v>
                </c:pt>
                <c:pt idx="308">
                  <c:v>140.97970579942299</c:v>
                </c:pt>
                <c:pt idx="309">
                  <c:v>121.08728026834</c:v>
                </c:pt>
                <c:pt idx="310">
                  <c:v>97.315365249951995</c:v>
                </c:pt>
                <c:pt idx="311">
                  <c:v>90.781074647775995</c:v>
                </c:pt>
                <c:pt idx="312">
                  <c:v>85.487571422307994</c:v>
                </c:pt>
                <c:pt idx="313">
                  <c:v>65.335486712670004</c:v>
                </c:pt>
                <c:pt idx="314">
                  <c:v>56.691011897750002</c:v>
                </c:pt>
                <c:pt idx="315">
                  <c:v>79.552720405643996</c:v>
                </c:pt>
                <c:pt idx="316">
                  <c:v>105.17775039817199</c:v>
                </c:pt>
                <c:pt idx="317">
                  <c:v>60.029482834607002</c:v>
                </c:pt>
                <c:pt idx="318">
                  <c:v>55.449021555807001</c:v>
                </c:pt>
                <c:pt idx="319">
                  <c:v>61.956410920012999</c:v>
                </c:pt>
                <c:pt idx="320">
                  <c:v>44.865639217290997</c:v>
                </c:pt>
                <c:pt idx="321">
                  <c:v>32.359394484695997</c:v>
                </c:pt>
                <c:pt idx="322">
                  <c:v>80.526852914911998</c:v>
                </c:pt>
                <c:pt idx="323">
                  <c:v>76.508629368038001</c:v>
                </c:pt>
                <c:pt idx="324">
                  <c:v>39.812798595989001</c:v>
                </c:pt>
                <c:pt idx="325">
                  <c:v>62.794092462262</c:v>
                </c:pt>
                <c:pt idx="326">
                  <c:v>20.391517128874</c:v>
                </c:pt>
                <c:pt idx="327">
                  <c:v>13.868267771777001</c:v>
                </c:pt>
                <c:pt idx="328">
                  <c:v>19.584482561649999</c:v>
                </c:pt>
                <c:pt idx="329">
                  <c:v>70.721357850070007</c:v>
                </c:pt>
                <c:pt idx="330">
                  <c:v>78.785868303200999</c:v>
                </c:pt>
                <c:pt idx="331">
                  <c:v>33.480648185348002</c:v>
                </c:pt>
                <c:pt idx="332">
                  <c:v>59.891352026183</c:v>
                </c:pt>
                <c:pt idx="333">
                  <c:v>48.170370996366003</c:v>
                </c:pt>
                <c:pt idx="334">
                  <c:v>14.37717243304</c:v>
                </c:pt>
                <c:pt idx="335">
                  <c:v>29.661268315832999</c:v>
                </c:pt>
                <c:pt idx="336">
                  <c:v>93.224542857630993</c:v>
                </c:pt>
                <c:pt idx="337">
                  <c:v>76.121933497110007</c:v>
                </c:pt>
                <c:pt idx="338">
                  <c:v>54.269808480095001</c:v>
                </c:pt>
                <c:pt idx="339">
                  <c:v>48.817723496413997</c:v>
                </c:pt>
                <c:pt idx="340">
                  <c:v>57.236824173926998</c:v>
                </c:pt>
                <c:pt idx="341">
                  <c:v>33.764053146443999</c:v>
                </c:pt>
                <c:pt idx="342">
                  <c:v>21.044733784117</c:v>
                </c:pt>
                <c:pt idx="343">
                  <c:v>54.501953756477</c:v>
                </c:pt>
                <c:pt idx="344">
                  <c:v>92.410226731758002</c:v>
                </c:pt>
                <c:pt idx="345">
                  <c:v>113.35298118340501</c:v>
                </c:pt>
                <c:pt idx="346">
                  <c:v>87.891931138581995</c:v>
                </c:pt>
                <c:pt idx="347">
                  <c:v>87.373551055278</c:v>
                </c:pt>
                <c:pt idx="348">
                  <c:v>82.833893680260999</c:v>
                </c:pt>
                <c:pt idx="349">
                  <c:v>55.675480323113</c:v>
                </c:pt>
                <c:pt idx="350">
                  <c:v>191.832839814659</c:v>
                </c:pt>
                <c:pt idx="351">
                  <c:v>214.07121832291</c:v>
                </c:pt>
                <c:pt idx="352">
                  <c:v>251.73316284738101</c:v>
                </c:pt>
                <c:pt idx="353">
                  <c:v>244.69574148851501</c:v>
                </c:pt>
                <c:pt idx="354">
                  <c:v>200.44770044769999</c:v>
                </c:pt>
                <c:pt idx="355">
                  <c:v>139.67904406516899</c:v>
                </c:pt>
                <c:pt idx="356">
                  <c:v>156.24521307557899</c:v>
                </c:pt>
                <c:pt idx="357">
                  <c:v>298.24038174768799</c:v>
                </c:pt>
                <c:pt idx="358">
                  <c:v>278.303692438209</c:v>
                </c:pt>
                <c:pt idx="359">
                  <c:v>333.41668750520898</c:v>
                </c:pt>
                <c:pt idx="360">
                  <c:v>589.64243746852401</c:v>
                </c:pt>
                <c:pt idx="361">
                  <c:v>428.55172852733</c:v>
                </c:pt>
                <c:pt idx="362">
                  <c:v>160.537534951466</c:v>
                </c:pt>
                <c:pt idx="363">
                  <c:v>217.20613287904499</c:v>
                </c:pt>
                <c:pt idx="364">
                  <c:v>401.57202060332099</c:v>
                </c:pt>
                <c:pt idx="365">
                  <c:v>498.83890943493498</c:v>
                </c:pt>
                <c:pt idx="366">
                  <c:v>373.40009928557498</c:v>
                </c:pt>
                <c:pt idx="367">
                  <c:v>366.09405801182697</c:v>
                </c:pt>
                <c:pt idx="368">
                  <c:v>294.10803568510801</c:v>
                </c:pt>
                <c:pt idx="369">
                  <c:v>208.22431536717201</c:v>
                </c:pt>
                <c:pt idx="370">
                  <c:v>127.613625208599</c:v>
                </c:pt>
                <c:pt idx="371">
                  <c:v>390.29616591413401</c:v>
                </c:pt>
                <c:pt idx="372">
                  <c:v>331.19845586945002</c:v>
                </c:pt>
                <c:pt idx="373">
                  <c:v>280.46634403871502</c:v>
                </c:pt>
                <c:pt idx="374">
                  <c:v>244.90066079052099</c:v>
                </c:pt>
                <c:pt idx="375">
                  <c:v>243.92136862062401</c:v>
                </c:pt>
                <c:pt idx="376">
                  <c:v>130.90457278516101</c:v>
                </c:pt>
                <c:pt idx="377">
                  <c:v>114.32757625538299</c:v>
                </c:pt>
                <c:pt idx="378">
                  <c:v>255.899598348891</c:v>
                </c:pt>
                <c:pt idx="379">
                  <c:v>225.164972355983</c:v>
                </c:pt>
                <c:pt idx="380">
                  <c:v>160.843534983468</c:v>
                </c:pt>
                <c:pt idx="381">
                  <c:v>190.36314569499299</c:v>
                </c:pt>
                <c:pt idx="382">
                  <c:v>145.00247291039</c:v>
                </c:pt>
                <c:pt idx="383">
                  <c:v>82.100882865657994</c:v>
                </c:pt>
                <c:pt idx="384">
                  <c:v>48.376027990593997</c:v>
                </c:pt>
                <c:pt idx="385">
                  <c:v>180.28372150672101</c:v>
                </c:pt>
                <c:pt idx="386">
                  <c:v>132.031823054787</c:v>
                </c:pt>
                <c:pt idx="387">
                  <c:v>99.475492855850007</c:v>
                </c:pt>
                <c:pt idx="388">
                  <c:v>115.527063913649</c:v>
                </c:pt>
                <c:pt idx="389">
                  <c:v>92.042316739201993</c:v>
                </c:pt>
                <c:pt idx="390">
                  <c:v>64.799236051110995</c:v>
                </c:pt>
                <c:pt idx="391">
                  <c:v>46.623227464491997</c:v>
                </c:pt>
                <c:pt idx="392">
                  <c:v>163.93255996630199</c:v>
                </c:pt>
                <c:pt idx="393">
                  <c:v>118.521219856862</c:v>
                </c:pt>
                <c:pt idx="394">
                  <c:v>101.5390583108</c:v>
                </c:pt>
                <c:pt idx="395">
                  <c:v>101.653874269005</c:v>
                </c:pt>
                <c:pt idx="396">
                  <c:v>101.83998535335</c:v>
                </c:pt>
                <c:pt idx="397">
                  <c:v>68.669527896995007</c:v>
                </c:pt>
                <c:pt idx="398">
                  <c:v>26.326633395906001</c:v>
                </c:pt>
                <c:pt idx="399">
                  <c:v>124.859676052143</c:v>
                </c:pt>
                <c:pt idx="400">
                  <c:v>102.010407353918</c:v>
                </c:pt>
                <c:pt idx="401">
                  <c:v>102.087634778618</c:v>
                </c:pt>
                <c:pt idx="402">
                  <c:v>105.61722938455</c:v>
                </c:pt>
                <c:pt idx="403">
                  <c:v>96.613912403385996</c:v>
                </c:pt>
                <c:pt idx="404">
                  <c:v>39.116428900137997</c:v>
                </c:pt>
                <c:pt idx="405">
                  <c:v>33.368235740831999</c:v>
                </c:pt>
                <c:pt idx="406">
                  <c:v>124.355195283714</c:v>
                </c:pt>
                <c:pt idx="407">
                  <c:v>104.835086344941</c:v>
                </c:pt>
                <c:pt idx="408">
                  <c:v>74.94004796163</c:v>
                </c:pt>
                <c:pt idx="409">
                  <c:v>86.527146450079002</c:v>
                </c:pt>
                <c:pt idx="410">
                  <c:v>107.4287562522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A0B-4754-90A8-6FC4E50C7F8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12</c:f>
              <c:numCache>
                <c:formatCode>m/d/yyyy</c:formatCode>
                <c:ptCount val="41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  <c:pt idx="384">
                  <c:v>44612</c:v>
                </c:pt>
                <c:pt idx="385">
                  <c:v>44613</c:v>
                </c:pt>
                <c:pt idx="386">
                  <c:v>44614</c:v>
                </c:pt>
                <c:pt idx="387">
                  <c:v>44615</c:v>
                </c:pt>
                <c:pt idx="388">
                  <c:v>44616</c:v>
                </c:pt>
                <c:pt idx="389">
                  <c:v>44617</c:v>
                </c:pt>
                <c:pt idx="390">
                  <c:v>44618</c:v>
                </c:pt>
                <c:pt idx="391">
                  <c:v>44619</c:v>
                </c:pt>
                <c:pt idx="392">
                  <c:v>44620</c:v>
                </c:pt>
                <c:pt idx="393">
                  <c:v>44621</c:v>
                </c:pt>
                <c:pt idx="394">
                  <c:v>44622</c:v>
                </c:pt>
                <c:pt idx="395">
                  <c:v>44623</c:v>
                </c:pt>
                <c:pt idx="396">
                  <c:v>44624</c:v>
                </c:pt>
                <c:pt idx="397">
                  <c:v>44625</c:v>
                </c:pt>
                <c:pt idx="398">
                  <c:v>44626</c:v>
                </c:pt>
                <c:pt idx="399">
                  <c:v>44627</c:v>
                </c:pt>
                <c:pt idx="400">
                  <c:v>44628</c:v>
                </c:pt>
                <c:pt idx="401">
                  <c:v>44629</c:v>
                </c:pt>
                <c:pt idx="402">
                  <c:v>44630</c:v>
                </c:pt>
                <c:pt idx="403">
                  <c:v>44631</c:v>
                </c:pt>
                <c:pt idx="404">
                  <c:v>44632</c:v>
                </c:pt>
                <c:pt idx="405">
                  <c:v>44633</c:v>
                </c:pt>
                <c:pt idx="406">
                  <c:v>44634</c:v>
                </c:pt>
                <c:pt idx="407">
                  <c:v>44635</c:v>
                </c:pt>
                <c:pt idx="408">
                  <c:v>44636</c:v>
                </c:pt>
                <c:pt idx="409">
                  <c:v>44637</c:v>
                </c:pt>
                <c:pt idx="410">
                  <c:v>44638</c:v>
                </c:pt>
              </c:numCache>
            </c:numRef>
          </c:cat>
          <c:val>
            <c:numRef>
              <c:f>List1!$D$2:$D$412</c:f>
              <c:numCache>
                <c:formatCode>General</c:formatCode>
                <c:ptCount val="4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13.858093126385</c:v>
                </c:pt>
                <c:pt idx="247">
                  <c:v>11.588828369451001</c:v>
                </c:pt>
                <c:pt idx="248">
                  <c:v>0</c:v>
                </c:pt>
                <c:pt idx="249">
                  <c:v>0</c:v>
                </c:pt>
                <c:pt idx="250">
                  <c:v>7.9510217062889996</c:v>
                </c:pt>
                <c:pt idx="251">
                  <c:v>0</c:v>
                </c:pt>
                <c:pt idx="252">
                  <c:v>0</c:v>
                </c:pt>
                <c:pt idx="253">
                  <c:v>6.5746219592369997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4.8076923076920002</c:v>
                </c:pt>
                <c:pt idx="258">
                  <c:v>0</c:v>
                </c:pt>
                <c:pt idx="259">
                  <c:v>4.4756747079619998</c:v>
                </c:pt>
                <c:pt idx="260">
                  <c:v>8.3945435466940008</c:v>
                </c:pt>
                <c:pt idx="261">
                  <c:v>11.680423610029001</c:v>
                </c:pt>
                <c:pt idx="262">
                  <c:v>0</c:v>
                </c:pt>
                <c:pt idx="263">
                  <c:v>6.4653779013379999</c:v>
                </c:pt>
                <c:pt idx="264">
                  <c:v>6.3716588613839997</c:v>
                </c:pt>
                <c:pt idx="265">
                  <c:v>0</c:v>
                </c:pt>
                <c:pt idx="266">
                  <c:v>17.87895944456</c:v>
                </c:pt>
                <c:pt idx="267">
                  <c:v>11.243534967393</c:v>
                </c:pt>
                <c:pt idx="268">
                  <c:v>15.525539512498</c:v>
                </c:pt>
                <c:pt idx="269">
                  <c:v>7.6893502499029998</c:v>
                </c:pt>
                <c:pt idx="270">
                  <c:v>26.754225951599</c:v>
                </c:pt>
                <c:pt idx="271">
                  <c:v>14.473874656245</c:v>
                </c:pt>
                <c:pt idx="272">
                  <c:v>9.5755631628080007</c:v>
                </c:pt>
                <c:pt idx="273">
                  <c:v>29.930469217662999</c:v>
                </c:pt>
                <c:pt idx="274">
                  <c:v>15.431758559114</c:v>
                </c:pt>
                <c:pt idx="275">
                  <c:v>18.895257290419998</c:v>
                </c:pt>
                <c:pt idx="276">
                  <c:v>13.852059999208</c:v>
                </c:pt>
                <c:pt idx="277">
                  <c:v>27.638052070090001</c:v>
                </c:pt>
                <c:pt idx="278">
                  <c:v>21.894214453829999</c:v>
                </c:pt>
                <c:pt idx="279">
                  <c:v>7.2584742687080004</c:v>
                </c:pt>
                <c:pt idx="280">
                  <c:v>29.933266423677999</c:v>
                </c:pt>
                <c:pt idx="281">
                  <c:v>46.056222707422997</c:v>
                </c:pt>
                <c:pt idx="282">
                  <c:v>27.974329438866999</c:v>
                </c:pt>
                <c:pt idx="283">
                  <c:v>30.234075394236001</c:v>
                </c:pt>
                <c:pt idx="284">
                  <c:v>46.798810404431997</c:v>
                </c:pt>
                <c:pt idx="285">
                  <c:v>18.011797727510999</c:v>
                </c:pt>
                <c:pt idx="286">
                  <c:v>11.964226961385</c:v>
                </c:pt>
                <c:pt idx="287">
                  <c:v>54.105432477881997</c:v>
                </c:pt>
                <c:pt idx="288">
                  <c:v>55.111990390728998</c:v>
                </c:pt>
                <c:pt idx="289">
                  <c:v>26.715410573678</c:v>
                </c:pt>
                <c:pt idx="290">
                  <c:v>30.149789636695001</c:v>
                </c:pt>
                <c:pt idx="291">
                  <c:v>54.093991608834003</c:v>
                </c:pt>
                <c:pt idx="292">
                  <c:v>20.970405515216001</c:v>
                </c:pt>
                <c:pt idx="293">
                  <c:v>19.603743007997998</c:v>
                </c:pt>
                <c:pt idx="294">
                  <c:v>43.577452513392998</c:v>
                </c:pt>
                <c:pt idx="295">
                  <c:v>57.605850750754001</c:v>
                </c:pt>
                <c:pt idx="296">
                  <c:v>31.855718101398999</c:v>
                </c:pt>
                <c:pt idx="297">
                  <c:v>55.055534278053997</c:v>
                </c:pt>
                <c:pt idx="298">
                  <c:v>40.266912103083001</c:v>
                </c:pt>
                <c:pt idx="299">
                  <c:v>28.587437536448</c:v>
                </c:pt>
                <c:pt idx="300">
                  <c:v>26.169372731513</c:v>
                </c:pt>
                <c:pt idx="301">
                  <c:v>50.274274095342001</c:v>
                </c:pt>
                <c:pt idx="302">
                  <c:v>40.550167132444997</c:v>
                </c:pt>
                <c:pt idx="303">
                  <c:v>50.579512069132001</c:v>
                </c:pt>
                <c:pt idx="304">
                  <c:v>44.227286129479999</c:v>
                </c:pt>
                <c:pt idx="305">
                  <c:v>45.644037367251002</c:v>
                </c:pt>
                <c:pt idx="306">
                  <c:v>22.19263204616</c:v>
                </c:pt>
                <c:pt idx="307">
                  <c:v>24.126179920986001</c:v>
                </c:pt>
                <c:pt idx="308">
                  <c:v>51.484129027146999</c:v>
                </c:pt>
                <c:pt idx="309">
                  <c:v>41.869930573811999</c:v>
                </c:pt>
                <c:pt idx="310">
                  <c:v>30.600340428787</c:v>
                </c:pt>
                <c:pt idx="311">
                  <c:v>36.630724724799002</c:v>
                </c:pt>
                <c:pt idx="312">
                  <c:v>25.573812416085001</c:v>
                </c:pt>
                <c:pt idx="313">
                  <c:v>15.438685713766001</c:v>
                </c:pt>
                <c:pt idx="314">
                  <c:v>9.0503470808100008</c:v>
                </c:pt>
                <c:pt idx="315">
                  <c:v>39.356344868915997</c:v>
                </c:pt>
                <c:pt idx="316">
                  <c:v>37.993585269091</c:v>
                </c:pt>
                <c:pt idx="317">
                  <c:v>34.883619524361002</c:v>
                </c:pt>
                <c:pt idx="318">
                  <c:v>16.322322924272999</c:v>
                </c:pt>
                <c:pt idx="319">
                  <c:v>32.005659948285</c:v>
                </c:pt>
                <c:pt idx="320">
                  <c:v>15.103712156809999</c:v>
                </c:pt>
                <c:pt idx="321">
                  <c:v>14.225465256393001</c:v>
                </c:pt>
                <c:pt idx="322">
                  <c:v>26.497524137588002</c:v>
                </c:pt>
                <c:pt idx="323">
                  <c:v>29.506987418548</c:v>
                </c:pt>
                <c:pt idx="324">
                  <c:v>17.874262686664</c:v>
                </c:pt>
                <c:pt idx="325">
                  <c:v>18.620617071057001</c:v>
                </c:pt>
                <c:pt idx="326">
                  <c:v>5.6668231789250001</c:v>
                </c:pt>
                <c:pt idx="327">
                  <c:v>5.6667314293109996</c:v>
                </c:pt>
                <c:pt idx="328">
                  <c:v>7.2846181241289996</c:v>
                </c:pt>
                <c:pt idx="329">
                  <c:v>28.118321898548999</c:v>
                </c:pt>
                <c:pt idx="330">
                  <c:v>29.486300824021999</c:v>
                </c:pt>
                <c:pt idx="331">
                  <c:v>27.651808428271</c:v>
                </c:pt>
                <c:pt idx="332">
                  <c:v>15.688489355359</c:v>
                </c:pt>
                <c:pt idx="333">
                  <c:v>25.061675216352</c:v>
                </c:pt>
                <c:pt idx="334">
                  <c:v>5.4818979897090001</c:v>
                </c:pt>
                <c:pt idx="335">
                  <c:v>25.809680976700001</c:v>
                </c:pt>
                <c:pt idx="336">
                  <c:v>61.308271960390002</c:v>
                </c:pt>
                <c:pt idx="337">
                  <c:v>52.268691822255001</c:v>
                </c:pt>
                <c:pt idx="338">
                  <c:v>37.296959917184999</c:v>
                </c:pt>
                <c:pt idx="339">
                  <c:v>39.133052378084997</c:v>
                </c:pt>
                <c:pt idx="340">
                  <c:v>45.052696883978001</c:v>
                </c:pt>
                <c:pt idx="341">
                  <c:v>23.563544251599001</c:v>
                </c:pt>
                <c:pt idx="342">
                  <c:v>27.202282050905001</c:v>
                </c:pt>
                <c:pt idx="343">
                  <c:v>62.054213481094997</c:v>
                </c:pt>
                <c:pt idx="344">
                  <c:v>76.799907260488993</c:v>
                </c:pt>
                <c:pt idx="345">
                  <c:v>91.948078069665002</c:v>
                </c:pt>
                <c:pt idx="346">
                  <c:v>64.138653515867006</c:v>
                </c:pt>
                <c:pt idx="347">
                  <c:v>80.332039094924994</c:v>
                </c:pt>
                <c:pt idx="348">
                  <c:v>53.437207765270003</c:v>
                </c:pt>
                <c:pt idx="349">
                  <c:v>58.996635787077999</c:v>
                </c:pt>
                <c:pt idx="350">
                  <c:v>188.77158638047899</c:v>
                </c:pt>
                <c:pt idx="351">
                  <c:v>182.321749175376</c:v>
                </c:pt>
                <c:pt idx="352">
                  <c:v>220.88506359966399</c:v>
                </c:pt>
                <c:pt idx="353">
                  <c:v>206.69840635528701</c:v>
                </c:pt>
                <c:pt idx="354">
                  <c:v>228.62931931438499</c:v>
                </c:pt>
                <c:pt idx="355">
                  <c:v>125.165005779477</c:v>
                </c:pt>
                <c:pt idx="356">
                  <c:v>138.76736300995199</c:v>
                </c:pt>
                <c:pt idx="357">
                  <c:v>349.909799516661</c:v>
                </c:pt>
                <c:pt idx="358">
                  <c:v>312.08233546137302</c:v>
                </c:pt>
                <c:pt idx="359">
                  <c:v>354.05405405405401</c:v>
                </c:pt>
                <c:pt idx="360">
                  <c:v>431.40290069656999</c:v>
                </c:pt>
                <c:pt idx="361">
                  <c:v>409.23315590980798</c:v>
                </c:pt>
                <c:pt idx="362">
                  <c:v>159.67290437663999</c:v>
                </c:pt>
                <c:pt idx="363">
                  <c:v>235.07098876734599</c:v>
                </c:pt>
                <c:pt idx="364">
                  <c:v>449.39780693870199</c:v>
                </c:pt>
                <c:pt idx="365">
                  <c:v>505.47319198682101</c:v>
                </c:pt>
                <c:pt idx="366">
                  <c:v>398.30339982768902</c:v>
                </c:pt>
                <c:pt idx="367">
                  <c:v>348.51961828173802</c:v>
                </c:pt>
                <c:pt idx="368">
                  <c:v>288.69349714601998</c:v>
                </c:pt>
                <c:pt idx="369">
                  <c:v>234.55309728682599</c:v>
                </c:pt>
                <c:pt idx="370">
                  <c:v>137.67481077947599</c:v>
                </c:pt>
                <c:pt idx="371">
                  <c:v>479.58948718792101</c:v>
                </c:pt>
                <c:pt idx="372">
                  <c:v>360.53193235921799</c:v>
                </c:pt>
                <c:pt idx="373">
                  <c:v>302.90513561888997</c:v>
                </c:pt>
                <c:pt idx="374">
                  <c:v>264.43424816237803</c:v>
                </c:pt>
                <c:pt idx="375">
                  <c:v>234.30514492327899</c:v>
                </c:pt>
                <c:pt idx="376">
                  <c:v>144.85661152980299</c:v>
                </c:pt>
                <c:pt idx="377">
                  <c:v>118.729980624832</c:v>
                </c:pt>
                <c:pt idx="378">
                  <c:v>321.85345894739498</c:v>
                </c:pt>
                <c:pt idx="379">
                  <c:v>282.48219841445399</c:v>
                </c:pt>
                <c:pt idx="380">
                  <c:v>218.45701728150999</c:v>
                </c:pt>
                <c:pt idx="381">
                  <c:v>185.69499272802801</c:v>
                </c:pt>
                <c:pt idx="382">
                  <c:v>172.34788355503099</c:v>
                </c:pt>
                <c:pt idx="383">
                  <c:v>101.70238126085</c:v>
                </c:pt>
                <c:pt idx="384">
                  <c:v>82.909609094147001</c:v>
                </c:pt>
                <c:pt idx="385">
                  <c:v>231.057492540791</c:v>
                </c:pt>
                <c:pt idx="386">
                  <c:v>171.38126835073001</c:v>
                </c:pt>
                <c:pt idx="387">
                  <c:v>149.90856869624699</c:v>
                </c:pt>
                <c:pt idx="388">
                  <c:v>134.90921061974299</c:v>
                </c:pt>
                <c:pt idx="389">
                  <c:v>116.630474705363</c:v>
                </c:pt>
                <c:pt idx="390">
                  <c:v>78.601157112115999</c:v>
                </c:pt>
                <c:pt idx="391">
                  <c:v>64.423027366902005</c:v>
                </c:pt>
                <c:pt idx="392">
                  <c:v>182.22090582462999</c:v>
                </c:pt>
                <c:pt idx="393">
                  <c:v>150.60240963855401</c:v>
                </c:pt>
                <c:pt idx="394">
                  <c:v>124.79816791143099</c:v>
                </c:pt>
                <c:pt idx="395">
                  <c:v>108.662804529117</c:v>
                </c:pt>
                <c:pt idx="396">
                  <c:v>113.69475847893101</c:v>
                </c:pt>
                <c:pt idx="397">
                  <c:v>75.149335217418994</c:v>
                </c:pt>
                <c:pt idx="398">
                  <c:v>58.448356701971001</c:v>
                </c:pt>
                <c:pt idx="399">
                  <c:v>199.67640864964801</c:v>
                </c:pt>
                <c:pt idx="400">
                  <c:v>155.330333703473</c:v>
                </c:pt>
                <c:pt idx="401">
                  <c:v>157.83800431167199</c:v>
                </c:pt>
                <c:pt idx="402">
                  <c:v>119.93176075217001</c:v>
                </c:pt>
                <c:pt idx="403">
                  <c:v>115.32769081927501</c:v>
                </c:pt>
                <c:pt idx="404">
                  <c:v>62.142042615347002</c:v>
                </c:pt>
                <c:pt idx="405">
                  <c:v>49.327986265038</c:v>
                </c:pt>
                <c:pt idx="406">
                  <c:v>218.37696603309499</c:v>
                </c:pt>
                <c:pt idx="407">
                  <c:v>159.421217747615</c:v>
                </c:pt>
                <c:pt idx="408">
                  <c:v>138.240884741662</c:v>
                </c:pt>
                <c:pt idx="409">
                  <c:v>126.679462571976</c:v>
                </c:pt>
                <c:pt idx="410">
                  <c:v>132.9906267183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A0B-4754-90A8-6FC4E50C7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456</c:v>
                </c:pt>
                <c:pt idx="1">
                  <c:v>44457</c:v>
                </c:pt>
                <c:pt idx="2">
                  <c:v>44458</c:v>
                </c:pt>
                <c:pt idx="3">
                  <c:v>44459</c:v>
                </c:pt>
                <c:pt idx="4">
                  <c:v>44460</c:v>
                </c:pt>
                <c:pt idx="5">
                  <c:v>44461</c:v>
                </c:pt>
                <c:pt idx="6">
                  <c:v>44462</c:v>
                </c:pt>
                <c:pt idx="7">
                  <c:v>44463</c:v>
                </c:pt>
                <c:pt idx="8">
                  <c:v>44464</c:v>
                </c:pt>
                <c:pt idx="9">
                  <c:v>44465</c:v>
                </c:pt>
                <c:pt idx="10">
                  <c:v>44466</c:v>
                </c:pt>
                <c:pt idx="11">
                  <c:v>44467</c:v>
                </c:pt>
                <c:pt idx="12">
                  <c:v>44468</c:v>
                </c:pt>
                <c:pt idx="13">
                  <c:v>44469</c:v>
                </c:pt>
                <c:pt idx="14">
                  <c:v>44470</c:v>
                </c:pt>
                <c:pt idx="15">
                  <c:v>44471</c:v>
                </c:pt>
                <c:pt idx="16">
                  <c:v>44472</c:v>
                </c:pt>
                <c:pt idx="17">
                  <c:v>44473</c:v>
                </c:pt>
                <c:pt idx="18">
                  <c:v>44474</c:v>
                </c:pt>
                <c:pt idx="19">
                  <c:v>44475</c:v>
                </c:pt>
                <c:pt idx="20">
                  <c:v>44476</c:v>
                </c:pt>
                <c:pt idx="21">
                  <c:v>44477</c:v>
                </c:pt>
                <c:pt idx="22">
                  <c:v>44478</c:v>
                </c:pt>
                <c:pt idx="23">
                  <c:v>44479</c:v>
                </c:pt>
                <c:pt idx="24">
                  <c:v>44480</c:v>
                </c:pt>
                <c:pt idx="25">
                  <c:v>44481</c:v>
                </c:pt>
                <c:pt idx="26">
                  <c:v>44482</c:v>
                </c:pt>
                <c:pt idx="27">
                  <c:v>44483</c:v>
                </c:pt>
                <c:pt idx="28">
                  <c:v>44484</c:v>
                </c:pt>
                <c:pt idx="29">
                  <c:v>44485</c:v>
                </c:pt>
                <c:pt idx="30">
                  <c:v>44486</c:v>
                </c:pt>
                <c:pt idx="31">
                  <c:v>44487</c:v>
                </c:pt>
                <c:pt idx="32">
                  <c:v>44488</c:v>
                </c:pt>
                <c:pt idx="33">
                  <c:v>44489</c:v>
                </c:pt>
                <c:pt idx="34">
                  <c:v>44490</c:v>
                </c:pt>
                <c:pt idx="35">
                  <c:v>44491</c:v>
                </c:pt>
                <c:pt idx="36">
                  <c:v>44492</c:v>
                </c:pt>
                <c:pt idx="37">
                  <c:v>44493</c:v>
                </c:pt>
                <c:pt idx="38">
                  <c:v>44494</c:v>
                </c:pt>
                <c:pt idx="39">
                  <c:v>44495</c:v>
                </c:pt>
                <c:pt idx="40">
                  <c:v>44496</c:v>
                </c:pt>
                <c:pt idx="41">
                  <c:v>44497</c:v>
                </c:pt>
                <c:pt idx="42">
                  <c:v>44498</c:v>
                </c:pt>
                <c:pt idx="43">
                  <c:v>44499</c:v>
                </c:pt>
                <c:pt idx="44">
                  <c:v>44500</c:v>
                </c:pt>
                <c:pt idx="45">
                  <c:v>44501</c:v>
                </c:pt>
                <c:pt idx="46">
                  <c:v>44502</c:v>
                </c:pt>
                <c:pt idx="47">
                  <c:v>44503</c:v>
                </c:pt>
                <c:pt idx="48">
                  <c:v>44504</c:v>
                </c:pt>
                <c:pt idx="49">
                  <c:v>44505</c:v>
                </c:pt>
                <c:pt idx="50">
                  <c:v>44506</c:v>
                </c:pt>
                <c:pt idx="51">
                  <c:v>44507</c:v>
                </c:pt>
                <c:pt idx="52">
                  <c:v>44508</c:v>
                </c:pt>
                <c:pt idx="53">
                  <c:v>44509</c:v>
                </c:pt>
                <c:pt idx="54">
                  <c:v>44510</c:v>
                </c:pt>
                <c:pt idx="55">
                  <c:v>44511</c:v>
                </c:pt>
                <c:pt idx="56">
                  <c:v>44512</c:v>
                </c:pt>
                <c:pt idx="57">
                  <c:v>44513</c:v>
                </c:pt>
                <c:pt idx="58">
                  <c:v>44514</c:v>
                </c:pt>
                <c:pt idx="59">
                  <c:v>44515</c:v>
                </c:pt>
                <c:pt idx="60">
                  <c:v>44516</c:v>
                </c:pt>
                <c:pt idx="61">
                  <c:v>44517</c:v>
                </c:pt>
                <c:pt idx="62">
                  <c:v>44518</c:v>
                </c:pt>
                <c:pt idx="63">
                  <c:v>44519</c:v>
                </c:pt>
                <c:pt idx="64">
                  <c:v>44520</c:v>
                </c:pt>
                <c:pt idx="65">
                  <c:v>44521</c:v>
                </c:pt>
                <c:pt idx="66">
                  <c:v>44522</c:v>
                </c:pt>
                <c:pt idx="67">
                  <c:v>44523</c:v>
                </c:pt>
                <c:pt idx="68">
                  <c:v>44524</c:v>
                </c:pt>
                <c:pt idx="69">
                  <c:v>44525</c:v>
                </c:pt>
                <c:pt idx="70">
                  <c:v>44526</c:v>
                </c:pt>
                <c:pt idx="71">
                  <c:v>44527</c:v>
                </c:pt>
                <c:pt idx="72">
                  <c:v>44528</c:v>
                </c:pt>
                <c:pt idx="73">
                  <c:v>44529</c:v>
                </c:pt>
                <c:pt idx="74">
                  <c:v>44530</c:v>
                </c:pt>
                <c:pt idx="75">
                  <c:v>44531</c:v>
                </c:pt>
                <c:pt idx="76">
                  <c:v>44532</c:v>
                </c:pt>
                <c:pt idx="77">
                  <c:v>44533</c:v>
                </c:pt>
                <c:pt idx="78">
                  <c:v>44534</c:v>
                </c:pt>
                <c:pt idx="79">
                  <c:v>44535</c:v>
                </c:pt>
                <c:pt idx="80">
                  <c:v>44536</c:v>
                </c:pt>
                <c:pt idx="81">
                  <c:v>44537</c:v>
                </c:pt>
                <c:pt idx="82">
                  <c:v>44538</c:v>
                </c:pt>
                <c:pt idx="83">
                  <c:v>44539</c:v>
                </c:pt>
                <c:pt idx="84">
                  <c:v>44540</c:v>
                </c:pt>
                <c:pt idx="85">
                  <c:v>44541</c:v>
                </c:pt>
                <c:pt idx="86">
                  <c:v>44542</c:v>
                </c:pt>
                <c:pt idx="87">
                  <c:v>44543</c:v>
                </c:pt>
                <c:pt idx="88">
                  <c:v>44544</c:v>
                </c:pt>
                <c:pt idx="89">
                  <c:v>44545</c:v>
                </c:pt>
                <c:pt idx="90">
                  <c:v>44546</c:v>
                </c:pt>
                <c:pt idx="91">
                  <c:v>44547</c:v>
                </c:pt>
                <c:pt idx="92">
                  <c:v>44548</c:v>
                </c:pt>
                <c:pt idx="93">
                  <c:v>44549</c:v>
                </c:pt>
                <c:pt idx="94">
                  <c:v>44550</c:v>
                </c:pt>
                <c:pt idx="95">
                  <c:v>44551</c:v>
                </c:pt>
                <c:pt idx="96">
                  <c:v>44552</c:v>
                </c:pt>
                <c:pt idx="97">
                  <c:v>44553</c:v>
                </c:pt>
                <c:pt idx="98">
                  <c:v>44554</c:v>
                </c:pt>
                <c:pt idx="99">
                  <c:v>44555</c:v>
                </c:pt>
                <c:pt idx="100">
                  <c:v>44556</c:v>
                </c:pt>
                <c:pt idx="101">
                  <c:v>44557</c:v>
                </c:pt>
                <c:pt idx="102">
                  <c:v>44558</c:v>
                </c:pt>
                <c:pt idx="103">
                  <c:v>44559</c:v>
                </c:pt>
                <c:pt idx="104">
                  <c:v>44560</c:v>
                </c:pt>
                <c:pt idx="105">
                  <c:v>44561</c:v>
                </c:pt>
                <c:pt idx="106">
                  <c:v>44562</c:v>
                </c:pt>
                <c:pt idx="107">
                  <c:v>44563</c:v>
                </c:pt>
                <c:pt idx="108">
                  <c:v>44564</c:v>
                </c:pt>
                <c:pt idx="109">
                  <c:v>44565</c:v>
                </c:pt>
                <c:pt idx="110">
                  <c:v>44566</c:v>
                </c:pt>
                <c:pt idx="111">
                  <c:v>44567</c:v>
                </c:pt>
                <c:pt idx="112">
                  <c:v>44568</c:v>
                </c:pt>
                <c:pt idx="113">
                  <c:v>44569</c:v>
                </c:pt>
                <c:pt idx="114">
                  <c:v>44570</c:v>
                </c:pt>
                <c:pt idx="115">
                  <c:v>44571</c:v>
                </c:pt>
                <c:pt idx="116">
                  <c:v>44572</c:v>
                </c:pt>
                <c:pt idx="117">
                  <c:v>44573</c:v>
                </c:pt>
                <c:pt idx="118">
                  <c:v>44574</c:v>
                </c:pt>
                <c:pt idx="119">
                  <c:v>44575</c:v>
                </c:pt>
                <c:pt idx="120">
                  <c:v>44576</c:v>
                </c:pt>
                <c:pt idx="121">
                  <c:v>44577</c:v>
                </c:pt>
                <c:pt idx="122">
                  <c:v>44578</c:v>
                </c:pt>
                <c:pt idx="123">
                  <c:v>44579</c:v>
                </c:pt>
                <c:pt idx="124">
                  <c:v>44580</c:v>
                </c:pt>
                <c:pt idx="125">
                  <c:v>44581</c:v>
                </c:pt>
                <c:pt idx="126">
                  <c:v>44582</c:v>
                </c:pt>
                <c:pt idx="127">
                  <c:v>44583</c:v>
                </c:pt>
                <c:pt idx="128">
                  <c:v>44584</c:v>
                </c:pt>
                <c:pt idx="129">
                  <c:v>44585</c:v>
                </c:pt>
                <c:pt idx="130">
                  <c:v>44586</c:v>
                </c:pt>
                <c:pt idx="131">
                  <c:v>44587</c:v>
                </c:pt>
                <c:pt idx="132">
                  <c:v>44588</c:v>
                </c:pt>
                <c:pt idx="133">
                  <c:v>44589</c:v>
                </c:pt>
                <c:pt idx="134">
                  <c:v>44590</c:v>
                </c:pt>
                <c:pt idx="135">
                  <c:v>44591</c:v>
                </c:pt>
                <c:pt idx="136">
                  <c:v>44592</c:v>
                </c:pt>
                <c:pt idx="137">
                  <c:v>44593</c:v>
                </c:pt>
                <c:pt idx="138">
                  <c:v>44594</c:v>
                </c:pt>
                <c:pt idx="139">
                  <c:v>44595</c:v>
                </c:pt>
                <c:pt idx="140">
                  <c:v>44596</c:v>
                </c:pt>
                <c:pt idx="141">
                  <c:v>44597</c:v>
                </c:pt>
                <c:pt idx="142">
                  <c:v>44598</c:v>
                </c:pt>
                <c:pt idx="143">
                  <c:v>44599</c:v>
                </c:pt>
                <c:pt idx="144">
                  <c:v>44600</c:v>
                </c:pt>
                <c:pt idx="145">
                  <c:v>44601</c:v>
                </c:pt>
                <c:pt idx="146">
                  <c:v>44602</c:v>
                </c:pt>
                <c:pt idx="147">
                  <c:v>44603</c:v>
                </c:pt>
                <c:pt idx="148">
                  <c:v>44604</c:v>
                </c:pt>
                <c:pt idx="149">
                  <c:v>44605</c:v>
                </c:pt>
                <c:pt idx="150">
                  <c:v>44606</c:v>
                </c:pt>
                <c:pt idx="151">
                  <c:v>44607</c:v>
                </c:pt>
                <c:pt idx="152">
                  <c:v>44608</c:v>
                </c:pt>
                <c:pt idx="153">
                  <c:v>44609</c:v>
                </c:pt>
                <c:pt idx="154">
                  <c:v>44610</c:v>
                </c:pt>
                <c:pt idx="155">
                  <c:v>44611</c:v>
                </c:pt>
                <c:pt idx="156">
                  <c:v>44612</c:v>
                </c:pt>
                <c:pt idx="157">
                  <c:v>44613</c:v>
                </c:pt>
                <c:pt idx="158">
                  <c:v>44614</c:v>
                </c:pt>
                <c:pt idx="159">
                  <c:v>44615</c:v>
                </c:pt>
                <c:pt idx="160">
                  <c:v>44616</c:v>
                </c:pt>
                <c:pt idx="161">
                  <c:v>44617</c:v>
                </c:pt>
                <c:pt idx="162">
                  <c:v>44618</c:v>
                </c:pt>
                <c:pt idx="163">
                  <c:v>44619</c:v>
                </c:pt>
                <c:pt idx="164">
                  <c:v>44620</c:v>
                </c:pt>
                <c:pt idx="165">
                  <c:v>44621</c:v>
                </c:pt>
                <c:pt idx="166">
                  <c:v>44622</c:v>
                </c:pt>
                <c:pt idx="167">
                  <c:v>44623</c:v>
                </c:pt>
                <c:pt idx="168">
                  <c:v>44624</c:v>
                </c:pt>
                <c:pt idx="169">
                  <c:v>44625</c:v>
                </c:pt>
                <c:pt idx="170">
                  <c:v>44626</c:v>
                </c:pt>
                <c:pt idx="171">
                  <c:v>44627</c:v>
                </c:pt>
                <c:pt idx="172">
                  <c:v>44628</c:v>
                </c:pt>
                <c:pt idx="173">
                  <c:v>44629</c:v>
                </c:pt>
                <c:pt idx="174">
                  <c:v>44630</c:v>
                </c:pt>
                <c:pt idx="175">
                  <c:v>44631</c:v>
                </c:pt>
                <c:pt idx="176">
                  <c:v>44632</c:v>
                </c:pt>
                <c:pt idx="177">
                  <c:v>44633</c:v>
                </c:pt>
                <c:pt idx="178">
                  <c:v>44634</c:v>
                </c:pt>
                <c:pt idx="179">
                  <c:v>44635</c:v>
                </c:pt>
                <c:pt idx="180">
                  <c:v>44636</c:v>
                </c:pt>
                <c:pt idx="181">
                  <c:v>44637</c:v>
                </c:pt>
                <c:pt idx="182">
                  <c:v>44638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4</c:v>
                </c:pt>
                <c:pt idx="4">
                  <c:v>4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4</c:v>
                </c:pt>
                <c:pt idx="11">
                  <c:v>1</c:v>
                </c:pt>
                <c:pt idx="12">
                  <c:v>6</c:v>
                </c:pt>
                <c:pt idx="13">
                  <c:v>2</c:v>
                </c:pt>
                <c:pt idx="14">
                  <c:v>2</c:v>
                </c:pt>
                <c:pt idx="15">
                  <c:v>0</c:v>
                </c:pt>
                <c:pt idx="16">
                  <c:v>0</c:v>
                </c:pt>
                <c:pt idx="17">
                  <c:v>4</c:v>
                </c:pt>
                <c:pt idx="18">
                  <c:v>5</c:v>
                </c:pt>
                <c:pt idx="19">
                  <c:v>2</c:v>
                </c:pt>
                <c:pt idx="20">
                  <c:v>1</c:v>
                </c:pt>
                <c:pt idx="21">
                  <c:v>2</c:v>
                </c:pt>
                <c:pt idx="22">
                  <c:v>1</c:v>
                </c:pt>
                <c:pt idx="23">
                  <c:v>0</c:v>
                </c:pt>
                <c:pt idx="24">
                  <c:v>2</c:v>
                </c:pt>
                <c:pt idx="25">
                  <c:v>3</c:v>
                </c:pt>
                <c:pt idx="26">
                  <c:v>1</c:v>
                </c:pt>
                <c:pt idx="27">
                  <c:v>3</c:v>
                </c:pt>
                <c:pt idx="28">
                  <c:v>7</c:v>
                </c:pt>
                <c:pt idx="29">
                  <c:v>2</c:v>
                </c:pt>
                <c:pt idx="30">
                  <c:v>1</c:v>
                </c:pt>
                <c:pt idx="31">
                  <c:v>12</c:v>
                </c:pt>
                <c:pt idx="32">
                  <c:v>8</c:v>
                </c:pt>
                <c:pt idx="33">
                  <c:v>11</c:v>
                </c:pt>
                <c:pt idx="34">
                  <c:v>7</c:v>
                </c:pt>
                <c:pt idx="35">
                  <c:v>12</c:v>
                </c:pt>
                <c:pt idx="36">
                  <c:v>0</c:v>
                </c:pt>
                <c:pt idx="37">
                  <c:v>4</c:v>
                </c:pt>
                <c:pt idx="38">
                  <c:v>20</c:v>
                </c:pt>
                <c:pt idx="39">
                  <c:v>6</c:v>
                </c:pt>
                <c:pt idx="40">
                  <c:v>18</c:v>
                </c:pt>
                <c:pt idx="41">
                  <c:v>3</c:v>
                </c:pt>
                <c:pt idx="42">
                  <c:v>8</c:v>
                </c:pt>
                <c:pt idx="43">
                  <c:v>5</c:v>
                </c:pt>
                <c:pt idx="44">
                  <c:v>4</c:v>
                </c:pt>
                <c:pt idx="45">
                  <c:v>41</c:v>
                </c:pt>
                <c:pt idx="46">
                  <c:v>26</c:v>
                </c:pt>
                <c:pt idx="47">
                  <c:v>21</c:v>
                </c:pt>
                <c:pt idx="48">
                  <c:v>25</c:v>
                </c:pt>
                <c:pt idx="49">
                  <c:v>27</c:v>
                </c:pt>
                <c:pt idx="50">
                  <c:v>13</c:v>
                </c:pt>
                <c:pt idx="51">
                  <c:v>5</c:v>
                </c:pt>
                <c:pt idx="52">
                  <c:v>54</c:v>
                </c:pt>
                <c:pt idx="53">
                  <c:v>29</c:v>
                </c:pt>
                <c:pt idx="54">
                  <c:v>31</c:v>
                </c:pt>
                <c:pt idx="55">
                  <c:v>38</c:v>
                </c:pt>
                <c:pt idx="56">
                  <c:v>35</c:v>
                </c:pt>
                <c:pt idx="57">
                  <c:v>20</c:v>
                </c:pt>
                <c:pt idx="58">
                  <c:v>14</c:v>
                </c:pt>
                <c:pt idx="59">
                  <c:v>59</c:v>
                </c:pt>
                <c:pt idx="60">
                  <c:v>35</c:v>
                </c:pt>
                <c:pt idx="61">
                  <c:v>14</c:v>
                </c:pt>
                <c:pt idx="62">
                  <c:v>43</c:v>
                </c:pt>
                <c:pt idx="63">
                  <c:v>52</c:v>
                </c:pt>
                <c:pt idx="64">
                  <c:v>13</c:v>
                </c:pt>
                <c:pt idx="65">
                  <c:v>7</c:v>
                </c:pt>
                <c:pt idx="66">
                  <c:v>74</c:v>
                </c:pt>
                <c:pt idx="67">
                  <c:v>44</c:v>
                </c:pt>
                <c:pt idx="68">
                  <c:v>49</c:v>
                </c:pt>
                <c:pt idx="69">
                  <c:v>49</c:v>
                </c:pt>
                <c:pt idx="70">
                  <c:v>51</c:v>
                </c:pt>
                <c:pt idx="71">
                  <c:v>22</c:v>
                </c:pt>
                <c:pt idx="72">
                  <c:v>7</c:v>
                </c:pt>
                <c:pt idx="73">
                  <c:v>44</c:v>
                </c:pt>
                <c:pt idx="74">
                  <c:v>49</c:v>
                </c:pt>
                <c:pt idx="75">
                  <c:v>43</c:v>
                </c:pt>
                <c:pt idx="76">
                  <c:v>33</c:v>
                </c:pt>
                <c:pt idx="77">
                  <c:v>30</c:v>
                </c:pt>
                <c:pt idx="78">
                  <c:v>21</c:v>
                </c:pt>
                <c:pt idx="79">
                  <c:v>10</c:v>
                </c:pt>
                <c:pt idx="80">
                  <c:v>50</c:v>
                </c:pt>
                <c:pt idx="81">
                  <c:v>36</c:v>
                </c:pt>
                <c:pt idx="82">
                  <c:v>35</c:v>
                </c:pt>
                <c:pt idx="83">
                  <c:v>26</c:v>
                </c:pt>
                <c:pt idx="84">
                  <c:v>20</c:v>
                </c:pt>
                <c:pt idx="85">
                  <c:v>13</c:v>
                </c:pt>
                <c:pt idx="86">
                  <c:v>9</c:v>
                </c:pt>
                <c:pt idx="87">
                  <c:v>35</c:v>
                </c:pt>
                <c:pt idx="88">
                  <c:v>37</c:v>
                </c:pt>
                <c:pt idx="89">
                  <c:v>27</c:v>
                </c:pt>
                <c:pt idx="90">
                  <c:v>18</c:v>
                </c:pt>
                <c:pt idx="91">
                  <c:v>16</c:v>
                </c:pt>
                <c:pt idx="92">
                  <c:v>8</c:v>
                </c:pt>
                <c:pt idx="93">
                  <c:v>10</c:v>
                </c:pt>
                <c:pt idx="94">
                  <c:v>28</c:v>
                </c:pt>
                <c:pt idx="95">
                  <c:v>13</c:v>
                </c:pt>
                <c:pt idx="96">
                  <c:v>9</c:v>
                </c:pt>
                <c:pt idx="97">
                  <c:v>4</c:v>
                </c:pt>
                <c:pt idx="98">
                  <c:v>7</c:v>
                </c:pt>
                <c:pt idx="99">
                  <c:v>3</c:v>
                </c:pt>
                <c:pt idx="100">
                  <c:v>5</c:v>
                </c:pt>
                <c:pt idx="101">
                  <c:v>10</c:v>
                </c:pt>
                <c:pt idx="102">
                  <c:v>17</c:v>
                </c:pt>
                <c:pt idx="103">
                  <c:v>10</c:v>
                </c:pt>
                <c:pt idx="104">
                  <c:v>10</c:v>
                </c:pt>
                <c:pt idx="105">
                  <c:v>6</c:v>
                </c:pt>
                <c:pt idx="106">
                  <c:v>1</c:v>
                </c:pt>
                <c:pt idx="107">
                  <c:v>4</c:v>
                </c:pt>
                <c:pt idx="108">
                  <c:v>21</c:v>
                </c:pt>
                <c:pt idx="109">
                  <c:v>14</c:v>
                </c:pt>
                <c:pt idx="110">
                  <c:v>5</c:v>
                </c:pt>
                <c:pt idx="111">
                  <c:v>9</c:v>
                </c:pt>
                <c:pt idx="112">
                  <c:v>11</c:v>
                </c:pt>
                <c:pt idx="113">
                  <c:v>3</c:v>
                </c:pt>
                <c:pt idx="114">
                  <c:v>3</c:v>
                </c:pt>
                <c:pt idx="115">
                  <c:v>18</c:v>
                </c:pt>
                <c:pt idx="116">
                  <c:v>11</c:v>
                </c:pt>
                <c:pt idx="117">
                  <c:v>9</c:v>
                </c:pt>
                <c:pt idx="118">
                  <c:v>13</c:v>
                </c:pt>
                <c:pt idx="119">
                  <c:v>12</c:v>
                </c:pt>
                <c:pt idx="120">
                  <c:v>6</c:v>
                </c:pt>
                <c:pt idx="121">
                  <c:v>11</c:v>
                </c:pt>
                <c:pt idx="122">
                  <c:v>47</c:v>
                </c:pt>
                <c:pt idx="123">
                  <c:v>35</c:v>
                </c:pt>
                <c:pt idx="124">
                  <c:v>43</c:v>
                </c:pt>
                <c:pt idx="125">
                  <c:v>48</c:v>
                </c:pt>
                <c:pt idx="126">
                  <c:v>69</c:v>
                </c:pt>
                <c:pt idx="127">
                  <c:v>20</c:v>
                </c:pt>
                <c:pt idx="128">
                  <c:v>16</c:v>
                </c:pt>
                <c:pt idx="129">
                  <c:v>96</c:v>
                </c:pt>
                <c:pt idx="130">
                  <c:v>105</c:v>
                </c:pt>
                <c:pt idx="131">
                  <c:v>100</c:v>
                </c:pt>
                <c:pt idx="132">
                  <c:v>60</c:v>
                </c:pt>
                <c:pt idx="133">
                  <c:v>72</c:v>
                </c:pt>
                <c:pt idx="134">
                  <c:v>30</c:v>
                </c:pt>
                <c:pt idx="135">
                  <c:v>31</c:v>
                </c:pt>
                <c:pt idx="136">
                  <c:v>116</c:v>
                </c:pt>
                <c:pt idx="137">
                  <c:v>117</c:v>
                </c:pt>
                <c:pt idx="138">
                  <c:v>82</c:v>
                </c:pt>
                <c:pt idx="139">
                  <c:v>71</c:v>
                </c:pt>
                <c:pt idx="140">
                  <c:v>84</c:v>
                </c:pt>
                <c:pt idx="141">
                  <c:v>32</c:v>
                </c:pt>
                <c:pt idx="142">
                  <c:v>25</c:v>
                </c:pt>
                <c:pt idx="143">
                  <c:v>133</c:v>
                </c:pt>
                <c:pt idx="144">
                  <c:v>91</c:v>
                </c:pt>
                <c:pt idx="145">
                  <c:v>65</c:v>
                </c:pt>
                <c:pt idx="146">
                  <c:v>69</c:v>
                </c:pt>
                <c:pt idx="147">
                  <c:v>51</c:v>
                </c:pt>
                <c:pt idx="148">
                  <c:v>22</c:v>
                </c:pt>
                <c:pt idx="149">
                  <c:v>27</c:v>
                </c:pt>
                <c:pt idx="150">
                  <c:v>90</c:v>
                </c:pt>
                <c:pt idx="151">
                  <c:v>75</c:v>
                </c:pt>
                <c:pt idx="152">
                  <c:v>69</c:v>
                </c:pt>
                <c:pt idx="153">
                  <c:v>41</c:v>
                </c:pt>
                <c:pt idx="154">
                  <c:v>30</c:v>
                </c:pt>
                <c:pt idx="155">
                  <c:v>24</c:v>
                </c:pt>
                <c:pt idx="156">
                  <c:v>11</c:v>
                </c:pt>
                <c:pt idx="157">
                  <c:v>66</c:v>
                </c:pt>
                <c:pt idx="158">
                  <c:v>39</c:v>
                </c:pt>
                <c:pt idx="159">
                  <c:v>40</c:v>
                </c:pt>
                <c:pt idx="160" formatCode="General">
                  <c:v>33</c:v>
                </c:pt>
                <c:pt idx="161" formatCode="General">
                  <c:v>26</c:v>
                </c:pt>
                <c:pt idx="162" formatCode="General">
                  <c:v>11</c:v>
                </c:pt>
                <c:pt idx="163" formatCode="General">
                  <c:v>12</c:v>
                </c:pt>
                <c:pt idx="164" formatCode="General">
                  <c:v>43</c:v>
                </c:pt>
                <c:pt idx="165" formatCode="General">
                  <c:v>32</c:v>
                </c:pt>
                <c:pt idx="166" formatCode="General">
                  <c:v>25</c:v>
                </c:pt>
                <c:pt idx="167" formatCode="General">
                  <c:v>21</c:v>
                </c:pt>
                <c:pt idx="168" formatCode="General">
                  <c:v>16</c:v>
                </c:pt>
                <c:pt idx="169" formatCode="General">
                  <c:v>12</c:v>
                </c:pt>
                <c:pt idx="170" formatCode="General">
                  <c:v>5</c:v>
                </c:pt>
                <c:pt idx="171" formatCode="General">
                  <c:v>44</c:v>
                </c:pt>
                <c:pt idx="172" formatCode="General">
                  <c:v>26</c:v>
                </c:pt>
                <c:pt idx="173" formatCode="General">
                  <c:v>33</c:v>
                </c:pt>
                <c:pt idx="174" formatCode="General">
                  <c:v>17</c:v>
                </c:pt>
                <c:pt idx="175" formatCode="General">
                  <c:v>33</c:v>
                </c:pt>
                <c:pt idx="176" formatCode="General">
                  <c:v>10</c:v>
                </c:pt>
                <c:pt idx="177" formatCode="General">
                  <c:v>5</c:v>
                </c:pt>
                <c:pt idx="178" formatCode="General">
                  <c:v>34</c:v>
                </c:pt>
                <c:pt idx="179" formatCode="General">
                  <c:v>34</c:v>
                </c:pt>
                <c:pt idx="180" formatCode="General">
                  <c:v>25</c:v>
                </c:pt>
                <c:pt idx="181" formatCode="General">
                  <c:v>14</c:v>
                </c:pt>
                <c:pt idx="182" formatCode="General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C$1</c:f>
              <c:strCache>
                <c:ptCount val="54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8.03</c:v>
                </c:pt>
                <c:pt idx="11">
                  <c:v>19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  <c:pt idx="53">
                  <c:v>31.12 - 31.12</c:v>
                </c:pt>
              </c:strCache>
            </c:strRef>
          </c:cat>
          <c:val>
            <c:numRef>
              <c:f>List1!$B$2:$BC$2</c:f>
              <c:numCache>
                <c:formatCode>General</c:formatCode>
                <c:ptCount val="54"/>
                <c:pt idx="34">
                  <c:v>0.41799999999999998</c:v>
                </c:pt>
                <c:pt idx="35">
                  <c:v>0.55700000000000005</c:v>
                </c:pt>
                <c:pt idx="36">
                  <c:v>1.532</c:v>
                </c:pt>
                <c:pt idx="37">
                  <c:v>3.4820000000000002</c:v>
                </c:pt>
                <c:pt idx="38">
                  <c:v>8.0779999999999994</c:v>
                </c:pt>
                <c:pt idx="39">
                  <c:v>49.997999999999998</c:v>
                </c:pt>
                <c:pt idx="40">
                  <c:v>89.412000000000006</c:v>
                </c:pt>
                <c:pt idx="41">
                  <c:v>166.98599999999999</c:v>
                </c:pt>
                <c:pt idx="42">
                  <c:v>273.38900000000001</c:v>
                </c:pt>
                <c:pt idx="43">
                  <c:v>256.81599999999997</c:v>
                </c:pt>
                <c:pt idx="44">
                  <c:v>206.53899999999999</c:v>
                </c:pt>
                <c:pt idx="45">
                  <c:v>154.173</c:v>
                </c:pt>
                <c:pt idx="46">
                  <c:v>106.264</c:v>
                </c:pt>
                <c:pt idx="47">
                  <c:v>68.242999999999995</c:v>
                </c:pt>
                <c:pt idx="48">
                  <c:v>70.471000000000004</c:v>
                </c:pt>
                <c:pt idx="49">
                  <c:v>64.622</c:v>
                </c:pt>
                <c:pt idx="50">
                  <c:v>82.308999999999997</c:v>
                </c:pt>
                <c:pt idx="51">
                  <c:v>91.361999999999995</c:v>
                </c:pt>
                <c:pt idx="52">
                  <c:v>101.389</c:v>
                </c:pt>
                <c:pt idx="53">
                  <c:v>88.7155738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5E-407A-AC1D-1838C2884016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C$1</c:f>
              <c:strCache>
                <c:ptCount val="54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8.03</c:v>
                </c:pt>
                <c:pt idx="11">
                  <c:v>19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  <c:pt idx="53">
                  <c:v>31.12 - 31.12</c:v>
                </c:pt>
              </c:strCache>
            </c:strRef>
          </c:cat>
          <c:val>
            <c:numRef>
              <c:f>List1!$B$3:$BC$3</c:f>
              <c:numCache>
                <c:formatCode>General</c:formatCode>
                <c:ptCount val="54"/>
                <c:pt idx="0">
                  <c:v>115.038</c:v>
                </c:pt>
                <c:pt idx="1">
                  <c:v>104.175</c:v>
                </c:pt>
                <c:pt idx="2">
                  <c:v>68.382000000000005</c:v>
                </c:pt>
                <c:pt idx="3">
                  <c:v>54.872999999999998</c:v>
                </c:pt>
                <c:pt idx="4">
                  <c:v>51.390999999999998</c:v>
                </c:pt>
                <c:pt idx="5">
                  <c:v>36.21</c:v>
                </c:pt>
                <c:pt idx="6">
                  <c:v>35.095999999999997</c:v>
                </c:pt>
                <c:pt idx="7">
                  <c:v>38.578000000000003</c:v>
                </c:pt>
                <c:pt idx="8">
                  <c:v>39.970999999999997</c:v>
                </c:pt>
                <c:pt idx="9">
                  <c:v>33.006999999999998</c:v>
                </c:pt>
                <c:pt idx="10">
                  <c:v>21.03</c:v>
                </c:pt>
                <c:pt idx="11">
                  <c:v>16.248000000000001</c:v>
                </c:pt>
                <c:pt idx="12">
                  <c:v>13.090999999999999</c:v>
                </c:pt>
                <c:pt idx="13">
                  <c:v>9.8879999999999999</c:v>
                </c:pt>
                <c:pt idx="14">
                  <c:v>7.7990000000000004</c:v>
                </c:pt>
                <c:pt idx="15">
                  <c:v>5.9889999999999999</c:v>
                </c:pt>
                <c:pt idx="16">
                  <c:v>4.0389999999999997</c:v>
                </c:pt>
                <c:pt idx="17">
                  <c:v>2.6459999999999999</c:v>
                </c:pt>
                <c:pt idx="18">
                  <c:v>2.2280000000000002</c:v>
                </c:pt>
                <c:pt idx="19">
                  <c:v>2.2280000000000002</c:v>
                </c:pt>
                <c:pt idx="20">
                  <c:v>1.2529999999999999</c:v>
                </c:pt>
                <c:pt idx="21">
                  <c:v>0.41799999999999998</c:v>
                </c:pt>
                <c:pt idx="22">
                  <c:v>0.27900000000000003</c:v>
                </c:pt>
                <c:pt idx="23">
                  <c:v>0</c:v>
                </c:pt>
                <c:pt idx="24">
                  <c:v>0</c:v>
                </c:pt>
                <c:pt idx="25">
                  <c:v>0.55700000000000005</c:v>
                </c:pt>
                <c:pt idx="26">
                  <c:v>0.13900000000000001</c:v>
                </c:pt>
                <c:pt idx="27">
                  <c:v>0.27900000000000003</c:v>
                </c:pt>
                <c:pt idx="28">
                  <c:v>0.13900000000000001</c:v>
                </c:pt>
                <c:pt idx="29">
                  <c:v>0.41799999999999998</c:v>
                </c:pt>
                <c:pt idx="30">
                  <c:v>0</c:v>
                </c:pt>
                <c:pt idx="31">
                  <c:v>0.27900000000000003</c:v>
                </c:pt>
                <c:pt idx="32">
                  <c:v>0.13900000000000001</c:v>
                </c:pt>
                <c:pt idx="33">
                  <c:v>0.13900000000000001</c:v>
                </c:pt>
                <c:pt idx="34">
                  <c:v>1.2529999999999999</c:v>
                </c:pt>
                <c:pt idx="35">
                  <c:v>0.83599999999999997</c:v>
                </c:pt>
                <c:pt idx="36">
                  <c:v>0.55700000000000005</c:v>
                </c:pt>
                <c:pt idx="37">
                  <c:v>1.532</c:v>
                </c:pt>
                <c:pt idx="38">
                  <c:v>1.8109999999999999</c:v>
                </c:pt>
                <c:pt idx="39">
                  <c:v>2.089</c:v>
                </c:pt>
                <c:pt idx="40">
                  <c:v>1.393</c:v>
                </c:pt>
                <c:pt idx="41">
                  <c:v>6.1280000000000001</c:v>
                </c:pt>
                <c:pt idx="42">
                  <c:v>9.3309999999999995</c:v>
                </c:pt>
                <c:pt idx="43">
                  <c:v>15.041</c:v>
                </c:pt>
                <c:pt idx="44">
                  <c:v>25.626000000000001</c:v>
                </c:pt>
                <c:pt idx="45">
                  <c:v>29.943000000000001</c:v>
                </c:pt>
                <c:pt idx="46">
                  <c:v>39.274000000000001</c:v>
                </c:pt>
                <c:pt idx="47">
                  <c:v>36.906999999999996</c:v>
                </c:pt>
                <c:pt idx="48">
                  <c:v>29.943000000000001</c:v>
                </c:pt>
                <c:pt idx="49">
                  <c:v>23.257999999999999</c:v>
                </c:pt>
                <c:pt idx="50">
                  <c:v>14.206</c:v>
                </c:pt>
                <c:pt idx="51">
                  <c:v>7.7990000000000004</c:v>
                </c:pt>
                <c:pt idx="52">
                  <c:v>7.7990000000000004</c:v>
                </c:pt>
                <c:pt idx="53">
                  <c:v>5.8493785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5E-407A-AC1D-1838C2884016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cat>
            <c:strRef>
              <c:f>List1!$B$1:$BC$1</c:f>
              <c:strCache>
                <c:ptCount val="54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8.03</c:v>
                </c:pt>
                <c:pt idx="11">
                  <c:v>19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  <c:pt idx="53">
                  <c:v>31.12 - 31.12</c:v>
                </c:pt>
              </c:strCache>
            </c:strRef>
          </c:cat>
          <c:val>
            <c:numRef>
              <c:f>List1!$B$4:$BC$4</c:f>
              <c:numCache>
                <c:formatCode>General</c:formatCode>
                <c:ptCount val="54"/>
                <c:pt idx="0">
                  <c:v>9.0530000000000008</c:v>
                </c:pt>
                <c:pt idx="1">
                  <c:v>9.61</c:v>
                </c:pt>
                <c:pt idx="2">
                  <c:v>36.070999999999998</c:v>
                </c:pt>
                <c:pt idx="3">
                  <c:v>65.317999999999998</c:v>
                </c:pt>
                <c:pt idx="4">
                  <c:v>73.953000000000003</c:v>
                </c:pt>
                <c:pt idx="5">
                  <c:v>64.900000000000006</c:v>
                </c:pt>
                <c:pt idx="6">
                  <c:v>49.302</c:v>
                </c:pt>
                <c:pt idx="7">
                  <c:v>33.286000000000001</c:v>
                </c:pt>
                <c:pt idx="8">
                  <c:v>22.283000000000001</c:v>
                </c:pt>
                <c:pt idx="9">
                  <c:v>23.675999999999998</c:v>
                </c:pt>
                <c:pt idx="10">
                  <c:v>18.940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5E-407A-AC1D-1838C28840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75.117130000000003</c:v>
                </c:pt>
                <c:pt idx="1">
                  <c:v>61.610129999999998</c:v>
                </c:pt>
                <c:pt idx="2">
                  <c:v>56.564709999999998</c:v>
                </c:pt>
                <c:pt idx="3">
                  <c:v>56.255690000000001</c:v>
                </c:pt>
                <c:pt idx="4">
                  <c:v>54.407879999999999</c:v>
                </c:pt>
                <c:pt idx="5">
                  <c:v>57.158880000000003</c:v>
                </c:pt>
                <c:pt idx="6">
                  <c:v>67.084980000000002</c:v>
                </c:pt>
                <c:pt idx="7">
                  <c:v>51.2746</c:v>
                </c:pt>
                <c:pt idx="8">
                  <c:v>57.79336</c:v>
                </c:pt>
                <c:pt idx="9">
                  <c:v>56.704529999999998</c:v>
                </c:pt>
                <c:pt idx="10">
                  <c:v>62.56857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12.64988</c:v>
                </c:pt>
                <c:pt idx="1">
                  <c:v>21.77861</c:v>
                </c:pt>
                <c:pt idx="2">
                  <c:v>24.117979999999999</c:v>
                </c:pt>
                <c:pt idx="3">
                  <c:v>23.034379999999999</c:v>
                </c:pt>
                <c:pt idx="4">
                  <c:v>25.32113</c:v>
                </c:pt>
                <c:pt idx="5">
                  <c:v>24.624849999999999</c:v>
                </c:pt>
                <c:pt idx="6">
                  <c:v>19.418759999999999</c:v>
                </c:pt>
                <c:pt idx="7">
                  <c:v>24.717649999999999</c:v>
                </c:pt>
                <c:pt idx="8">
                  <c:v>24.326160000000002</c:v>
                </c:pt>
                <c:pt idx="9">
                  <c:v>24.362539999999999</c:v>
                </c:pt>
                <c:pt idx="10">
                  <c:v>20.73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0.35377579999999997</c:v>
                </c:pt>
                <c:pt idx="1">
                  <c:v>0.56602339999999995</c:v>
                </c:pt>
                <c:pt idx="2">
                  <c:v>0.55899750000000004</c:v>
                </c:pt>
                <c:pt idx="3">
                  <c:v>0.58811170000000002</c:v>
                </c:pt>
                <c:pt idx="4">
                  <c:v>0.80943160000000003</c:v>
                </c:pt>
                <c:pt idx="5">
                  <c:v>0.56079829999999997</c:v>
                </c:pt>
                <c:pt idx="6">
                  <c:v>0.52840160000000003</c:v>
                </c:pt>
                <c:pt idx="7">
                  <c:v>0.58083249999999997</c:v>
                </c:pt>
                <c:pt idx="8">
                  <c:v>0.57173969999999996</c:v>
                </c:pt>
                <c:pt idx="9">
                  <c:v>0.4760334</c:v>
                </c:pt>
                <c:pt idx="10">
                  <c:v>0.5190422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3.3809499999999999</c:v>
                </c:pt>
                <c:pt idx="1">
                  <c:v>9.7164180000000009</c:v>
                </c:pt>
                <c:pt idx="2">
                  <c:v>10.44904</c:v>
                </c:pt>
                <c:pt idx="3">
                  <c:v>10.074909999999999</c:v>
                </c:pt>
                <c:pt idx="4">
                  <c:v>11.78955</c:v>
                </c:pt>
                <c:pt idx="5">
                  <c:v>10.29935</c:v>
                </c:pt>
                <c:pt idx="6">
                  <c:v>7.3756050000000002</c:v>
                </c:pt>
                <c:pt idx="7">
                  <c:v>12.649240000000001</c:v>
                </c:pt>
                <c:pt idx="8">
                  <c:v>10.407019999999999</c:v>
                </c:pt>
                <c:pt idx="9">
                  <c:v>9.8647310000000008</c:v>
                </c:pt>
                <c:pt idx="10">
                  <c:v>8.66256699999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8.4982690000000005</c:v>
                </c:pt>
                <c:pt idx="1">
                  <c:v>6.3288250000000001</c:v>
                </c:pt>
                <c:pt idx="2">
                  <c:v>8.3092760000000006</c:v>
                </c:pt>
                <c:pt idx="3">
                  <c:v>10.04691</c:v>
                </c:pt>
                <c:pt idx="4">
                  <c:v>7.6720040000000003</c:v>
                </c:pt>
                <c:pt idx="5">
                  <c:v>7.3561259999999997</c:v>
                </c:pt>
                <c:pt idx="6">
                  <c:v>5.5922499999999999</c:v>
                </c:pt>
                <c:pt idx="7">
                  <c:v>10.777670000000001</c:v>
                </c:pt>
                <c:pt idx="8">
                  <c:v>6.9017150000000003</c:v>
                </c:pt>
                <c:pt idx="9">
                  <c:v>8.5921669999999999</c:v>
                </c:pt>
                <c:pt idx="10">
                  <c:v>7.514915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Liberecký kraj</c:v>
                </c:pt>
                <c:pt idx="2">
                  <c:v>Královéhradecký kraj</c:v>
                </c:pt>
                <c:pt idx="3">
                  <c:v>Kraj Vysočina</c:v>
                </c:pt>
                <c:pt idx="4">
                  <c:v>Středočeský kraj</c:v>
                </c:pt>
                <c:pt idx="5">
                  <c:v>Jihočeský kraj</c:v>
                </c:pt>
                <c:pt idx="6">
                  <c:v>Ústecký kraj</c:v>
                </c:pt>
                <c:pt idx="7">
                  <c:v>Pardubický kraj</c:v>
                </c:pt>
                <c:pt idx="8">
                  <c:v>Hlavní město Praha</c:v>
                </c:pt>
                <c:pt idx="9">
                  <c:v>ČR</c:v>
                </c:pt>
                <c:pt idx="10">
                  <c:v>Olomoucký kraj</c:v>
                </c:pt>
                <c:pt idx="11">
                  <c:v>Zlínský kraj</c:v>
                </c:pt>
                <c:pt idx="12">
                  <c:v>Jihomoravs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652500000000003</c:v>
                </c:pt>
                <c:pt idx="1">
                  <c:v>90.461299999999994</c:v>
                </c:pt>
                <c:pt idx="2">
                  <c:v>90.166409999999999</c:v>
                </c:pt>
                <c:pt idx="3">
                  <c:v>90.120660000000001</c:v>
                </c:pt>
                <c:pt idx="4">
                  <c:v>90.055899999999994</c:v>
                </c:pt>
                <c:pt idx="5">
                  <c:v>89.646829999999994</c:v>
                </c:pt>
                <c:pt idx="6">
                  <c:v>89.134619999999998</c:v>
                </c:pt>
                <c:pt idx="7">
                  <c:v>89.119169999999997</c:v>
                </c:pt>
                <c:pt idx="8">
                  <c:v>88.995559999999998</c:v>
                </c:pt>
                <c:pt idx="9">
                  <c:v>88.020020000000002</c:v>
                </c:pt>
                <c:pt idx="10">
                  <c:v>87.272729999999996</c:v>
                </c:pt>
                <c:pt idx="11">
                  <c:v>85.214010000000002</c:v>
                </c:pt>
                <c:pt idx="12">
                  <c:v>84.966139999999996</c:v>
                </c:pt>
                <c:pt idx="13">
                  <c:v>84.463059999999999</c:v>
                </c:pt>
                <c:pt idx="14">
                  <c:v>84.33566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Královéhradecký kraj</c:v>
                </c:pt>
                <c:pt idx="5">
                  <c:v>Hlavní město Praha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Liberecký kraj</c:v>
                </c:pt>
                <c:pt idx="9">
                  <c:v>ČR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8.605329999999995</c:v>
                </c:pt>
                <c:pt idx="1">
                  <c:v>88.31241</c:v>
                </c:pt>
                <c:pt idx="2">
                  <c:v>87.890559999999994</c:v>
                </c:pt>
                <c:pt idx="3">
                  <c:v>87.532049999999998</c:v>
                </c:pt>
                <c:pt idx="4">
                  <c:v>86.500249999999994</c:v>
                </c:pt>
                <c:pt idx="5">
                  <c:v>86.28586</c:v>
                </c:pt>
                <c:pt idx="6">
                  <c:v>85.458299999999994</c:v>
                </c:pt>
                <c:pt idx="7">
                  <c:v>84.769589999999994</c:v>
                </c:pt>
                <c:pt idx="8">
                  <c:v>84.650670000000005</c:v>
                </c:pt>
                <c:pt idx="9">
                  <c:v>84.271140000000003</c:v>
                </c:pt>
                <c:pt idx="10">
                  <c:v>83.380889999999994</c:v>
                </c:pt>
                <c:pt idx="11">
                  <c:v>81.533479999999997</c:v>
                </c:pt>
                <c:pt idx="12">
                  <c:v>79.340890000000002</c:v>
                </c:pt>
                <c:pt idx="13">
                  <c:v>79.336439999999996</c:v>
                </c:pt>
                <c:pt idx="14">
                  <c:v>78.01821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22 Psycholog ve zdravotnictví</c:v>
                </c:pt>
                <c:pt idx="14">
                  <c:v>§ 17 Dentální hygienistka</c:v>
                </c:pt>
                <c:pt idx="15">
                  <c:v>§ 37 Masér ve zdravotnictví, nevidomý a slabozraký masér ve zdravotnictví</c:v>
                </c:pt>
                <c:pt idx="16">
                  <c:v>§ 7 Ergoterapeut</c:v>
                </c:pt>
                <c:pt idx="17">
                  <c:v>§ 15 Nutriční terapeut</c:v>
                </c:pt>
                <c:pt idx="18">
                  <c:v>§ 11 Optometrista</c:v>
                </c:pt>
                <c:pt idx="19">
                  <c:v>§ 23 Logoped ve zdravotnictví</c:v>
                </c:pt>
                <c:pt idx="20">
                  <c:v>§ 10 Zdravotně-sociální pracovník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21 Radiologický technik</c:v>
                </c:pt>
                <c:pt idx="34">
                  <c:v>§ 41 Autoptický laborant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6304</c:v>
                </c:pt>
                <c:pt idx="1">
                  <c:v>3044</c:v>
                </c:pt>
                <c:pt idx="2">
                  <c:v>2468</c:v>
                </c:pt>
                <c:pt idx="3">
                  <c:v>2288</c:v>
                </c:pt>
                <c:pt idx="4">
                  <c:v>2016</c:v>
                </c:pt>
                <c:pt idx="5">
                  <c:v>1364</c:v>
                </c:pt>
                <c:pt idx="6">
                  <c:v>1234</c:v>
                </c:pt>
                <c:pt idx="7">
                  <c:v>1081</c:v>
                </c:pt>
                <c:pt idx="8">
                  <c:v>933</c:v>
                </c:pt>
                <c:pt idx="9">
                  <c:v>925</c:v>
                </c:pt>
                <c:pt idx="10">
                  <c:v>741</c:v>
                </c:pt>
                <c:pt idx="11">
                  <c:v>580</c:v>
                </c:pt>
                <c:pt idx="12">
                  <c:v>476</c:v>
                </c:pt>
                <c:pt idx="13">
                  <c:v>470</c:v>
                </c:pt>
                <c:pt idx="14">
                  <c:v>429</c:v>
                </c:pt>
                <c:pt idx="15">
                  <c:v>329</c:v>
                </c:pt>
                <c:pt idx="16">
                  <c:v>274</c:v>
                </c:pt>
                <c:pt idx="17">
                  <c:v>270</c:v>
                </c:pt>
                <c:pt idx="18">
                  <c:v>267</c:v>
                </c:pt>
                <c:pt idx="19">
                  <c:v>242</c:v>
                </c:pt>
                <c:pt idx="20">
                  <c:v>235</c:v>
                </c:pt>
                <c:pt idx="21">
                  <c:v>232</c:v>
                </c:pt>
                <c:pt idx="22">
                  <c:v>126</c:v>
                </c:pt>
                <c:pt idx="23">
                  <c:v>75</c:v>
                </c:pt>
                <c:pt idx="24">
                  <c:v>66</c:v>
                </c:pt>
                <c:pt idx="25">
                  <c:v>64</c:v>
                </c:pt>
                <c:pt idx="26">
                  <c:v>48</c:v>
                </c:pt>
                <c:pt idx="27">
                  <c:v>41</c:v>
                </c:pt>
                <c:pt idx="28">
                  <c:v>36</c:v>
                </c:pt>
                <c:pt idx="29">
                  <c:v>28</c:v>
                </c:pt>
                <c:pt idx="30">
                  <c:v>22</c:v>
                </c:pt>
                <c:pt idx="31">
                  <c:v>14</c:v>
                </c:pt>
                <c:pt idx="32">
                  <c:v>14</c:v>
                </c:pt>
                <c:pt idx="33">
                  <c:v>6</c:v>
                </c:pt>
                <c:pt idx="34">
                  <c:v>5</c:v>
                </c:pt>
                <c:pt idx="3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18 Zdravotnický záchranář</c:v>
                </c:pt>
                <c:pt idx="6">
                  <c:v>§ 36 Ošetřovatel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22 Psycholog ve zdravotnictví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37 Masér ve zdravotnictví, nevidomý a slabozraký masér ve zdravotnictví</c:v>
                </c:pt>
                <c:pt idx="16">
                  <c:v>§ 7 Ergoterapeut</c:v>
                </c:pt>
                <c:pt idx="17">
                  <c:v>§ 15 Nutriční terapeut</c:v>
                </c:pt>
                <c:pt idx="18">
                  <c:v>§ 23 Logoped ve zdravotnictví</c:v>
                </c:pt>
                <c:pt idx="19">
                  <c:v>§ 11 Optometrista</c:v>
                </c:pt>
                <c:pt idx="20">
                  <c:v>§ 30 Laboratorní asistent</c:v>
                </c:pt>
                <c:pt idx="21">
                  <c:v>§ 10 Zdravotně-sociální pracovník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2 Nutriční asistent</c:v>
                </c:pt>
                <c:pt idx="32">
                  <c:v>§ 31 Ortoticko-protetický technik</c:v>
                </c:pt>
                <c:pt idx="33">
                  <c:v>§ 21 Radiologický technik</c:v>
                </c:pt>
                <c:pt idx="34">
                  <c:v>§ 41 Autoptický laborant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3870</c:v>
                </c:pt>
                <c:pt idx="1">
                  <c:v>2111</c:v>
                </c:pt>
                <c:pt idx="2">
                  <c:v>1671</c:v>
                </c:pt>
                <c:pt idx="3">
                  <c:v>1641</c:v>
                </c:pt>
                <c:pt idx="4">
                  <c:v>1349</c:v>
                </c:pt>
                <c:pt idx="5">
                  <c:v>854</c:v>
                </c:pt>
                <c:pt idx="6">
                  <c:v>819</c:v>
                </c:pt>
                <c:pt idx="7">
                  <c:v>731</c:v>
                </c:pt>
                <c:pt idx="8">
                  <c:v>701</c:v>
                </c:pt>
                <c:pt idx="9">
                  <c:v>634</c:v>
                </c:pt>
                <c:pt idx="10">
                  <c:v>479</c:v>
                </c:pt>
                <c:pt idx="11">
                  <c:v>365</c:v>
                </c:pt>
                <c:pt idx="12">
                  <c:v>362</c:v>
                </c:pt>
                <c:pt idx="13">
                  <c:v>299</c:v>
                </c:pt>
                <c:pt idx="14">
                  <c:v>297</c:v>
                </c:pt>
                <c:pt idx="15">
                  <c:v>208</c:v>
                </c:pt>
                <c:pt idx="16">
                  <c:v>200</c:v>
                </c:pt>
                <c:pt idx="17">
                  <c:v>184</c:v>
                </c:pt>
                <c:pt idx="18">
                  <c:v>184</c:v>
                </c:pt>
                <c:pt idx="19">
                  <c:v>173</c:v>
                </c:pt>
                <c:pt idx="20">
                  <c:v>165</c:v>
                </c:pt>
                <c:pt idx="21">
                  <c:v>155</c:v>
                </c:pt>
                <c:pt idx="22">
                  <c:v>91</c:v>
                </c:pt>
                <c:pt idx="23">
                  <c:v>50</c:v>
                </c:pt>
                <c:pt idx="24">
                  <c:v>47</c:v>
                </c:pt>
                <c:pt idx="25">
                  <c:v>45</c:v>
                </c:pt>
                <c:pt idx="26">
                  <c:v>36</c:v>
                </c:pt>
                <c:pt idx="27">
                  <c:v>36</c:v>
                </c:pt>
                <c:pt idx="28">
                  <c:v>24</c:v>
                </c:pt>
                <c:pt idx="29">
                  <c:v>20</c:v>
                </c:pt>
                <c:pt idx="30">
                  <c:v>16</c:v>
                </c:pt>
                <c:pt idx="31">
                  <c:v>8</c:v>
                </c:pt>
                <c:pt idx="32">
                  <c:v>7</c:v>
                </c:pt>
                <c:pt idx="33">
                  <c:v>5</c:v>
                </c:pt>
                <c:pt idx="34">
                  <c:v>4</c:v>
                </c:pt>
                <c:pt idx="3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§ 9 Zdravotní laborant</c:v>
                </c:pt>
                <c:pt idx="3">
                  <c:v>farmaceut</c:v>
                </c:pt>
                <c:pt idx="4">
                  <c:v>§ 19 Farmaceutický asistent</c:v>
                </c:pt>
                <c:pt idx="5">
                  <c:v>§ 18 Zdravotnický záchranář</c:v>
                </c:pt>
                <c:pt idx="6">
                  <c:v>§ 36 Ošetřovatel</c:v>
                </c:pt>
                <c:pt idx="7">
                  <c:v>§ 26 Odborný pracovník v laboratorních metodách a v přípravě léčivých přípravků</c:v>
                </c:pt>
                <c:pt idx="8">
                  <c:v>§ 39 Zubní instrumentářka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22 Psycholog ve zdravotnictví</c:v>
                </c:pt>
                <c:pt idx="12">
                  <c:v>§ 40 Řidič zdravotnické dopravní služby</c:v>
                </c:pt>
                <c:pt idx="13">
                  <c:v>§ 35 Řidič vozidla zdravotnické záchranné služby</c:v>
                </c:pt>
                <c:pt idx="14">
                  <c:v>§ 17 Dentální hygienistka</c:v>
                </c:pt>
                <c:pt idx="15">
                  <c:v>§ 7 Ergoterapeut</c:v>
                </c:pt>
                <c:pt idx="16">
                  <c:v>§ 37 Masér ve zdravotnictví, nevidomý a slabozraký masér ve zdravotnictví</c:v>
                </c:pt>
                <c:pt idx="17">
                  <c:v>§ 30 Laboratorní asistent</c:v>
                </c:pt>
                <c:pt idx="18">
                  <c:v>§ 15 Nutriční terapeut</c:v>
                </c:pt>
                <c:pt idx="19">
                  <c:v>§ 23 Logoped ve zdravotnictví</c:v>
                </c:pt>
                <c:pt idx="20">
                  <c:v>§ 11 Optometrista</c:v>
                </c:pt>
                <c:pt idx="21">
                  <c:v>§ 10 Zdravotně-sociální pracovník</c:v>
                </c:pt>
                <c:pt idx="22">
                  <c:v>§ 27 Biomedicínský inženýr</c:v>
                </c:pt>
                <c:pt idx="23">
                  <c:v>§ 28 Odborný pracovník v ochraně a podpoře veřejného zdraví</c:v>
                </c:pt>
                <c:pt idx="24">
                  <c:v>§ 33 Asistent zubního technika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21 Radiologický technik</c:v>
                </c:pt>
                <c:pt idx="34">
                  <c:v>§ 23a Zrakový terapeut</c:v>
                </c:pt>
                <c:pt idx="35">
                  <c:v>§ 41 Autoptický laboran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2591</c:v>
                </c:pt>
                <c:pt idx="1">
                  <c:v>1375</c:v>
                </c:pt>
                <c:pt idx="2">
                  <c:v>1082</c:v>
                </c:pt>
                <c:pt idx="3">
                  <c:v>1036</c:v>
                </c:pt>
                <c:pt idx="4">
                  <c:v>863</c:v>
                </c:pt>
                <c:pt idx="5">
                  <c:v>604</c:v>
                </c:pt>
                <c:pt idx="6">
                  <c:v>519</c:v>
                </c:pt>
                <c:pt idx="7">
                  <c:v>474</c:v>
                </c:pt>
                <c:pt idx="8">
                  <c:v>460</c:v>
                </c:pt>
                <c:pt idx="9">
                  <c:v>439</c:v>
                </c:pt>
                <c:pt idx="10">
                  <c:v>299</c:v>
                </c:pt>
                <c:pt idx="11">
                  <c:v>266</c:v>
                </c:pt>
                <c:pt idx="12">
                  <c:v>233</c:v>
                </c:pt>
                <c:pt idx="13">
                  <c:v>205</c:v>
                </c:pt>
                <c:pt idx="14">
                  <c:v>201</c:v>
                </c:pt>
                <c:pt idx="15">
                  <c:v>136</c:v>
                </c:pt>
                <c:pt idx="16">
                  <c:v>127</c:v>
                </c:pt>
                <c:pt idx="17">
                  <c:v>118</c:v>
                </c:pt>
                <c:pt idx="18">
                  <c:v>113</c:v>
                </c:pt>
                <c:pt idx="19">
                  <c:v>112</c:v>
                </c:pt>
                <c:pt idx="20">
                  <c:v>108</c:v>
                </c:pt>
                <c:pt idx="21">
                  <c:v>102</c:v>
                </c:pt>
                <c:pt idx="22">
                  <c:v>60</c:v>
                </c:pt>
                <c:pt idx="23">
                  <c:v>34</c:v>
                </c:pt>
                <c:pt idx="24">
                  <c:v>31</c:v>
                </c:pt>
                <c:pt idx="25">
                  <c:v>28</c:v>
                </c:pt>
                <c:pt idx="26">
                  <c:v>27</c:v>
                </c:pt>
                <c:pt idx="27">
                  <c:v>24</c:v>
                </c:pt>
                <c:pt idx="28">
                  <c:v>18</c:v>
                </c:pt>
                <c:pt idx="29">
                  <c:v>15</c:v>
                </c:pt>
                <c:pt idx="30">
                  <c:v>11</c:v>
                </c:pt>
                <c:pt idx="31">
                  <c:v>6</c:v>
                </c:pt>
                <c:pt idx="32">
                  <c:v>5</c:v>
                </c:pt>
                <c:pt idx="33">
                  <c:v>4</c:v>
                </c:pt>
                <c:pt idx="34">
                  <c:v>1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32511328268768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17.09.21</c:v>
                </c:pt>
                <c:pt idx="1">
                  <c:v>18.09.21</c:v>
                </c:pt>
                <c:pt idx="2">
                  <c:v>19.09.21</c:v>
                </c:pt>
                <c:pt idx="3">
                  <c:v>20.09.21</c:v>
                </c:pt>
                <c:pt idx="4">
                  <c:v>21.09.21</c:v>
                </c:pt>
                <c:pt idx="5">
                  <c:v>22.09.21</c:v>
                </c:pt>
                <c:pt idx="6">
                  <c:v>23.09.21</c:v>
                </c:pt>
                <c:pt idx="7">
                  <c:v>24.09.21</c:v>
                </c:pt>
                <c:pt idx="8">
                  <c:v>25.09.21</c:v>
                </c:pt>
                <c:pt idx="9">
                  <c:v>26.09.21</c:v>
                </c:pt>
                <c:pt idx="10">
                  <c:v>27.09.21</c:v>
                </c:pt>
                <c:pt idx="11">
                  <c:v>28.09.21</c:v>
                </c:pt>
                <c:pt idx="12">
                  <c:v>29.09.21</c:v>
                </c:pt>
                <c:pt idx="13">
                  <c:v>30.09.21</c:v>
                </c:pt>
                <c:pt idx="14">
                  <c:v>01.10.21</c:v>
                </c:pt>
                <c:pt idx="15">
                  <c:v>02.10.21</c:v>
                </c:pt>
                <c:pt idx="16">
                  <c:v>03.10.21</c:v>
                </c:pt>
                <c:pt idx="17">
                  <c:v>04.10.21</c:v>
                </c:pt>
                <c:pt idx="18">
                  <c:v>05.10.21</c:v>
                </c:pt>
                <c:pt idx="19">
                  <c:v>06.10.21</c:v>
                </c:pt>
                <c:pt idx="20">
                  <c:v>07.10.21</c:v>
                </c:pt>
                <c:pt idx="21">
                  <c:v>08.10.21</c:v>
                </c:pt>
                <c:pt idx="22">
                  <c:v>09.10.21</c:v>
                </c:pt>
                <c:pt idx="23">
                  <c:v>10.10.21</c:v>
                </c:pt>
                <c:pt idx="24">
                  <c:v>11.10.21</c:v>
                </c:pt>
                <c:pt idx="25">
                  <c:v>12.10.21</c:v>
                </c:pt>
                <c:pt idx="26">
                  <c:v>13.10.21</c:v>
                </c:pt>
                <c:pt idx="27">
                  <c:v>14.10.21</c:v>
                </c:pt>
                <c:pt idx="28">
                  <c:v>15.10.21</c:v>
                </c:pt>
                <c:pt idx="29">
                  <c:v>16.10.21</c:v>
                </c:pt>
                <c:pt idx="30">
                  <c:v>17.10.21</c:v>
                </c:pt>
                <c:pt idx="31">
                  <c:v>18.10.21</c:v>
                </c:pt>
                <c:pt idx="32">
                  <c:v>19.10.21</c:v>
                </c:pt>
                <c:pt idx="33">
                  <c:v>20.10.21</c:v>
                </c:pt>
                <c:pt idx="34">
                  <c:v>21.10.21</c:v>
                </c:pt>
                <c:pt idx="35">
                  <c:v>22.10.21</c:v>
                </c:pt>
                <c:pt idx="36">
                  <c:v>23.10.21</c:v>
                </c:pt>
                <c:pt idx="37">
                  <c:v>24.10.21</c:v>
                </c:pt>
                <c:pt idx="38">
                  <c:v>25.10.21</c:v>
                </c:pt>
                <c:pt idx="39">
                  <c:v>26.10.21</c:v>
                </c:pt>
                <c:pt idx="40">
                  <c:v>27.10.21</c:v>
                </c:pt>
                <c:pt idx="41">
                  <c:v>28.10.21</c:v>
                </c:pt>
                <c:pt idx="42">
                  <c:v>29.10.21</c:v>
                </c:pt>
                <c:pt idx="43">
                  <c:v>30.10.21</c:v>
                </c:pt>
                <c:pt idx="44">
                  <c:v>31.10.21</c:v>
                </c:pt>
                <c:pt idx="45">
                  <c:v>01.11.21</c:v>
                </c:pt>
                <c:pt idx="46">
                  <c:v>02.11.21</c:v>
                </c:pt>
                <c:pt idx="47">
                  <c:v>03.11.21</c:v>
                </c:pt>
                <c:pt idx="48">
                  <c:v>04.11.21</c:v>
                </c:pt>
                <c:pt idx="49">
                  <c:v>05.11.21</c:v>
                </c:pt>
                <c:pt idx="50">
                  <c:v>06.11.21</c:v>
                </c:pt>
                <c:pt idx="51">
                  <c:v>07.11.21</c:v>
                </c:pt>
                <c:pt idx="52">
                  <c:v>08.11.21</c:v>
                </c:pt>
                <c:pt idx="53">
                  <c:v>09.11.21</c:v>
                </c:pt>
                <c:pt idx="54">
                  <c:v>10.11.21</c:v>
                </c:pt>
                <c:pt idx="55">
                  <c:v>11.11.21</c:v>
                </c:pt>
                <c:pt idx="56">
                  <c:v>12.11.21</c:v>
                </c:pt>
                <c:pt idx="57">
                  <c:v>13.11.21</c:v>
                </c:pt>
                <c:pt idx="58">
                  <c:v>14.11.21</c:v>
                </c:pt>
                <c:pt idx="59">
                  <c:v>15.11.21</c:v>
                </c:pt>
                <c:pt idx="60">
                  <c:v>16.11.21</c:v>
                </c:pt>
                <c:pt idx="61">
                  <c:v>17.11.21</c:v>
                </c:pt>
                <c:pt idx="62">
                  <c:v>18.11.21</c:v>
                </c:pt>
                <c:pt idx="63">
                  <c:v>19.11.21</c:v>
                </c:pt>
                <c:pt idx="64">
                  <c:v>20.11.21</c:v>
                </c:pt>
                <c:pt idx="65">
                  <c:v>21.11.21</c:v>
                </c:pt>
                <c:pt idx="66">
                  <c:v>22.11.21</c:v>
                </c:pt>
                <c:pt idx="67">
                  <c:v>23.11.21</c:v>
                </c:pt>
                <c:pt idx="68">
                  <c:v>24.11.21</c:v>
                </c:pt>
                <c:pt idx="69">
                  <c:v>25.11.21</c:v>
                </c:pt>
                <c:pt idx="70">
                  <c:v>26.11.21</c:v>
                </c:pt>
                <c:pt idx="71">
                  <c:v>27.11.21</c:v>
                </c:pt>
                <c:pt idx="72">
                  <c:v>28.11.21</c:v>
                </c:pt>
                <c:pt idx="73">
                  <c:v>29.11.21</c:v>
                </c:pt>
                <c:pt idx="74">
                  <c:v>30.11.21</c:v>
                </c:pt>
                <c:pt idx="75">
                  <c:v>01.12.21</c:v>
                </c:pt>
                <c:pt idx="76">
                  <c:v>02.12.21</c:v>
                </c:pt>
                <c:pt idx="77">
                  <c:v>03.12.21</c:v>
                </c:pt>
                <c:pt idx="78">
                  <c:v>04.12.21</c:v>
                </c:pt>
                <c:pt idx="79">
                  <c:v>05.12.21</c:v>
                </c:pt>
                <c:pt idx="80">
                  <c:v>06.12.21</c:v>
                </c:pt>
                <c:pt idx="81">
                  <c:v>07.12.21</c:v>
                </c:pt>
                <c:pt idx="82">
                  <c:v>08.12.21</c:v>
                </c:pt>
                <c:pt idx="83">
                  <c:v>09.12.21</c:v>
                </c:pt>
                <c:pt idx="84">
                  <c:v>10.12.21</c:v>
                </c:pt>
                <c:pt idx="85">
                  <c:v>11.12.21</c:v>
                </c:pt>
                <c:pt idx="86">
                  <c:v>12.12.21</c:v>
                </c:pt>
                <c:pt idx="87">
                  <c:v>13.12.21</c:v>
                </c:pt>
                <c:pt idx="88">
                  <c:v>14.12.21</c:v>
                </c:pt>
                <c:pt idx="89">
                  <c:v>15.12.21</c:v>
                </c:pt>
                <c:pt idx="90">
                  <c:v>16.12.21</c:v>
                </c:pt>
                <c:pt idx="91">
                  <c:v>17.12.21</c:v>
                </c:pt>
                <c:pt idx="92">
                  <c:v>18.12.21</c:v>
                </c:pt>
                <c:pt idx="93">
                  <c:v>19.12.21</c:v>
                </c:pt>
                <c:pt idx="94">
                  <c:v>20.12.21</c:v>
                </c:pt>
                <c:pt idx="95">
                  <c:v>21.12.21</c:v>
                </c:pt>
                <c:pt idx="96">
                  <c:v>22.12.21</c:v>
                </c:pt>
                <c:pt idx="97">
                  <c:v>23.12.21</c:v>
                </c:pt>
                <c:pt idx="98">
                  <c:v>24.12.21</c:v>
                </c:pt>
                <c:pt idx="99">
                  <c:v>25.12.21</c:v>
                </c:pt>
                <c:pt idx="100">
                  <c:v>26.12.21</c:v>
                </c:pt>
                <c:pt idx="101">
                  <c:v>27.12.21</c:v>
                </c:pt>
                <c:pt idx="102">
                  <c:v>28.12.21</c:v>
                </c:pt>
                <c:pt idx="103">
                  <c:v>29.12.21</c:v>
                </c:pt>
                <c:pt idx="104">
                  <c:v>30.12.21</c:v>
                </c:pt>
                <c:pt idx="105">
                  <c:v>31.12.21</c:v>
                </c:pt>
                <c:pt idx="106">
                  <c:v>01.01.22</c:v>
                </c:pt>
                <c:pt idx="107">
                  <c:v>02.01.22</c:v>
                </c:pt>
                <c:pt idx="108">
                  <c:v>03.01.22</c:v>
                </c:pt>
                <c:pt idx="109">
                  <c:v>04.01.22</c:v>
                </c:pt>
                <c:pt idx="110">
                  <c:v>05.01.22</c:v>
                </c:pt>
                <c:pt idx="111">
                  <c:v>06.01.22</c:v>
                </c:pt>
                <c:pt idx="112">
                  <c:v>07.01.22</c:v>
                </c:pt>
                <c:pt idx="113">
                  <c:v>08.01.22</c:v>
                </c:pt>
                <c:pt idx="114">
                  <c:v>09.01.22</c:v>
                </c:pt>
                <c:pt idx="115">
                  <c:v>10.01.22</c:v>
                </c:pt>
                <c:pt idx="116">
                  <c:v>11.01.22</c:v>
                </c:pt>
                <c:pt idx="117">
                  <c:v>12.01.22</c:v>
                </c:pt>
                <c:pt idx="118">
                  <c:v>13.01.22</c:v>
                </c:pt>
                <c:pt idx="119">
                  <c:v>14.01.22</c:v>
                </c:pt>
                <c:pt idx="120">
                  <c:v>15.01.22</c:v>
                </c:pt>
                <c:pt idx="121">
                  <c:v>16.01.22</c:v>
                </c:pt>
                <c:pt idx="122">
                  <c:v>17.01.22</c:v>
                </c:pt>
                <c:pt idx="123">
                  <c:v>18.01.22</c:v>
                </c:pt>
                <c:pt idx="124">
                  <c:v>19.01.22</c:v>
                </c:pt>
                <c:pt idx="125">
                  <c:v>20.01.22</c:v>
                </c:pt>
                <c:pt idx="126">
                  <c:v>21.01.22</c:v>
                </c:pt>
                <c:pt idx="127">
                  <c:v>22.01.22</c:v>
                </c:pt>
                <c:pt idx="128">
                  <c:v>23.01.22</c:v>
                </c:pt>
                <c:pt idx="129">
                  <c:v>24.01.22</c:v>
                </c:pt>
                <c:pt idx="130">
                  <c:v>25.01.22</c:v>
                </c:pt>
                <c:pt idx="131">
                  <c:v>26.01.22</c:v>
                </c:pt>
                <c:pt idx="132">
                  <c:v>27.01.22</c:v>
                </c:pt>
                <c:pt idx="133">
                  <c:v>28.01.22</c:v>
                </c:pt>
                <c:pt idx="134">
                  <c:v>29.01.22</c:v>
                </c:pt>
                <c:pt idx="135">
                  <c:v>30.01.22</c:v>
                </c:pt>
                <c:pt idx="136">
                  <c:v>31.01.22</c:v>
                </c:pt>
                <c:pt idx="137">
                  <c:v>01.02.22</c:v>
                </c:pt>
                <c:pt idx="138">
                  <c:v>02.02.22</c:v>
                </c:pt>
                <c:pt idx="139">
                  <c:v>03.02.22</c:v>
                </c:pt>
                <c:pt idx="140">
                  <c:v>04.02.22</c:v>
                </c:pt>
                <c:pt idx="141">
                  <c:v>05.02.22</c:v>
                </c:pt>
                <c:pt idx="142">
                  <c:v>06.02.22</c:v>
                </c:pt>
                <c:pt idx="143">
                  <c:v>07.02.22</c:v>
                </c:pt>
                <c:pt idx="144">
                  <c:v>08.02.22</c:v>
                </c:pt>
                <c:pt idx="145">
                  <c:v>09.02.22</c:v>
                </c:pt>
                <c:pt idx="146">
                  <c:v>10.02.22</c:v>
                </c:pt>
                <c:pt idx="147">
                  <c:v>11.02.22</c:v>
                </c:pt>
                <c:pt idx="148">
                  <c:v>12.02.22</c:v>
                </c:pt>
                <c:pt idx="149">
                  <c:v>13.02.22</c:v>
                </c:pt>
                <c:pt idx="150">
                  <c:v>14.02.22</c:v>
                </c:pt>
                <c:pt idx="151">
                  <c:v>15.02.22</c:v>
                </c:pt>
                <c:pt idx="152">
                  <c:v>16.02.22</c:v>
                </c:pt>
                <c:pt idx="153">
                  <c:v>17.02.22</c:v>
                </c:pt>
                <c:pt idx="154">
                  <c:v>18.02.22</c:v>
                </c:pt>
                <c:pt idx="155">
                  <c:v>19.02.22</c:v>
                </c:pt>
                <c:pt idx="156">
                  <c:v>20.02.22</c:v>
                </c:pt>
                <c:pt idx="157">
                  <c:v>21.02.22</c:v>
                </c:pt>
                <c:pt idx="158">
                  <c:v>22.02.22</c:v>
                </c:pt>
                <c:pt idx="159">
                  <c:v>23.02.22</c:v>
                </c:pt>
                <c:pt idx="160">
                  <c:v>24.02.22</c:v>
                </c:pt>
                <c:pt idx="161">
                  <c:v>25.02.22</c:v>
                </c:pt>
                <c:pt idx="162">
                  <c:v>26.02.22</c:v>
                </c:pt>
                <c:pt idx="163">
                  <c:v>27.02.22</c:v>
                </c:pt>
                <c:pt idx="164">
                  <c:v>28.02.22</c:v>
                </c:pt>
                <c:pt idx="165">
                  <c:v>01.03.22</c:v>
                </c:pt>
                <c:pt idx="166">
                  <c:v>02.03.22</c:v>
                </c:pt>
                <c:pt idx="167">
                  <c:v>03.03.22</c:v>
                </c:pt>
                <c:pt idx="168">
                  <c:v>04.03.22</c:v>
                </c:pt>
                <c:pt idx="169">
                  <c:v>05.03.22</c:v>
                </c:pt>
                <c:pt idx="170">
                  <c:v>06.03.22</c:v>
                </c:pt>
                <c:pt idx="171">
                  <c:v>07.03.22</c:v>
                </c:pt>
                <c:pt idx="172">
                  <c:v>08.03.22</c:v>
                </c:pt>
                <c:pt idx="173">
                  <c:v>09.03.22</c:v>
                </c:pt>
                <c:pt idx="174">
                  <c:v>10.03.22</c:v>
                </c:pt>
                <c:pt idx="175">
                  <c:v>11.03.22</c:v>
                </c:pt>
                <c:pt idx="176">
                  <c:v>12.03.22</c:v>
                </c:pt>
                <c:pt idx="177">
                  <c:v>13.03.22</c:v>
                </c:pt>
                <c:pt idx="178">
                  <c:v>14.03.22</c:v>
                </c:pt>
                <c:pt idx="179">
                  <c:v>15.03.22</c:v>
                </c:pt>
                <c:pt idx="180">
                  <c:v>16.03.22</c:v>
                </c:pt>
                <c:pt idx="181">
                  <c:v>17.03.22</c:v>
                </c:pt>
                <c:pt idx="182">
                  <c:v>18.03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3</c:v>
                </c:pt>
                <c:pt idx="5">
                  <c:v>3</c:v>
                </c:pt>
                <c:pt idx="6">
                  <c:v>2</c:v>
                </c:pt>
                <c:pt idx="7">
                  <c:v>3</c:v>
                </c:pt>
                <c:pt idx="8">
                  <c:v>0</c:v>
                </c:pt>
                <c:pt idx="9">
                  <c:v>2</c:v>
                </c:pt>
                <c:pt idx="10">
                  <c:v>6</c:v>
                </c:pt>
                <c:pt idx="11">
                  <c:v>4</c:v>
                </c:pt>
                <c:pt idx="12">
                  <c:v>3</c:v>
                </c:pt>
                <c:pt idx="13">
                  <c:v>9</c:v>
                </c:pt>
                <c:pt idx="14">
                  <c:v>2</c:v>
                </c:pt>
                <c:pt idx="15">
                  <c:v>5</c:v>
                </c:pt>
                <c:pt idx="16">
                  <c:v>1</c:v>
                </c:pt>
                <c:pt idx="17">
                  <c:v>0</c:v>
                </c:pt>
                <c:pt idx="18">
                  <c:v>2</c:v>
                </c:pt>
                <c:pt idx="19">
                  <c:v>5</c:v>
                </c:pt>
                <c:pt idx="20">
                  <c:v>6</c:v>
                </c:pt>
                <c:pt idx="21">
                  <c:v>6</c:v>
                </c:pt>
                <c:pt idx="22">
                  <c:v>1</c:v>
                </c:pt>
                <c:pt idx="23">
                  <c:v>1</c:v>
                </c:pt>
                <c:pt idx="24">
                  <c:v>3</c:v>
                </c:pt>
                <c:pt idx="25">
                  <c:v>10</c:v>
                </c:pt>
                <c:pt idx="26">
                  <c:v>7</c:v>
                </c:pt>
                <c:pt idx="27">
                  <c:v>7</c:v>
                </c:pt>
                <c:pt idx="28">
                  <c:v>6</c:v>
                </c:pt>
                <c:pt idx="29">
                  <c:v>5</c:v>
                </c:pt>
                <c:pt idx="30">
                  <c:v>8</c:v>
                </c:pt>
                <c:pt idx="31">
                  <c:v>17</c:v>
                </c:pt>
                <c:pt idx="32">
                  <c:v>16</c:v>
                </c:pt>
                <c:pt idx="33">
                  <c:v>13</c:v>
                </c:pt>
                <c:pt idx="34">
                  <c:v>13</c:v>
                </c:pt>
                <c:pt idx="35">
                  <c:v>16</c:v>
                </c:pt>
                <c:pt idx="36">
                  <c:v>13</c:v>
                </c:pt>
                <c:pt idx="37">
                  <c:v>12</c:v>
                </c:pt>
                <c:pt idx="38">
                  <c:v>28</c:v>
                </c:pt>
                <c:pt idx="39">
                  <c:v>20</c:v>
                </c:pt>
                <c:pt idx="40">
                  <c:v>25</c:v>
                </c:pt>
                <c:pt idx="41">
                  <c:v>22</c:v>
                </c:pt>
                <c:pt idx="42">
                  <c:v>36</c:v>
                </c:pt>
                <c:pt idx="43">
                  <c:v>21</c:v>
                </c:pt>
                <c:pt idx="44">
                  <c:v>18</c:v>
                </c:pt>
                <c:pt idx="45">
                  <c:v>55</c:v>
                </c:pt>
                <c:pt idx="46">
                  <c:v>37</c:v>
                </c:pt>
                <c:pt idx="47">
                  <c:v>38</c:v>
                </c:pt>
                <c:pt idx="48">
                  <c:v>27</c:v>
                </c:pt>
                <c:pt idx="49">
                  <c:v>40</c:v>
                </c:pt>
                <c:pt idx="50">
                  <c:v>20</c:v>
                </c:pt>
                <c:pt idx="51">
                  <c:v>18</c:v>
                </c:pt>
                <c:pt idx="52">
                  <c:v>52</c:v>
                </c:pt>
                <c:pt idx="53">
                  <c:v>47</c:v>
                </c:pt>
                <c:pt idx="54">
                  <c:v>47</c:v>
                </c:pt>
                <c:pt idx="55">
                  <c:v>49</c:v>
                </c:pt>
                <c:pt idx="56">
                  <c:v>41</c:v>
                </c:pt>
                <c:pt idx="57">
                  <c:v>48</c:v>
                </c:pt>
                <c:pt idx="58">
                  <c:v>22</c:v>
                </c:pt>
                <c:pt idx="59">
                  <c:v>63</c:v>
                </c:pt>
                <c:pt idx="60">
                  <c:v>56</c:v>
                </c:pt>
                <c:pt idx="61">
                  <c:v>43</c:v>
                </c:pt>
                <c:pt idx="62">
                  <c:v>53</c:v>
                </c:pt>
                <c:pt idx="63">
                  <c:v>77</c:v>
                </c:pt>
                <c:pt idx="64">
                  <c:v>46</c:v>
                </c:pt>
                <c:pt idx="65">
                  <c:v>32</c:v>
                </c:pt>
                <c:pt idx="66">
                  <c:v>61</c:v>
                </c:pt>
                <c:pt idx="67">
                  <c:v>69</c:v>
                </c:pt>
                <c:pt idx="68">
                  <c:v>41</c:v>
                </c:pt>
                <c:pt idx="69">
                  <c:v>66</c:v>
                </c:pt>
                <c:pt idx="70">
                  <c:v>51</c:v>
                </c:pt>
                <c:pt idx="71">
                  <c:v>35</c:v>
                </c:pt>
                <c:pt idx="72">
                  <c:v>38</c:v>
                </c:pt>
                <c:pt idx="73">
                  <c:v>57</c:v>
                </c:pt>
                <c:pt idx="74">
                  <c:v>45</c:v>
                </c:pt>
                <c:pt idx="75">
                  <c:v>56</c:v>
                </c:pt>
                <c:pt idx="76">
                  <c:v>40</c:v>
                </c:pt>
                <c:pt idx="77">
                  <c:v>50</c:v>
                </c:pt>
                <c:pt idx="78">
                  <c:v>24</c:v>
                </c:pt>
                <c:pt idx="79">
                  <c:v>15</c:v>
                </c:pt>
                <c:pt idx="80">
                  <c:v>45</c:v>
                </c:pt>
                <c:pt idx="81">
                  <c:v>40</c:v>
                </c:pt>
                <c:pt idx="82">
                  <c:v>30</c:v>
                </c:pt>
                <c:pt idx="83">
                  <c:v>30</c:v>
                </c:pt>
                <c:pt idx="84">
                  <c:v>33</c:v>
                </c:pt>
                <c:pt idx="85">
                  <c:v>19</c:v>
                </c:pt>
                <c:pt idx="86">
                  <c:v>11</c:v>
                </c:pt>
                <c:pt idx="87">
                  <c:v>28</c:v>
                </c:pt>
                <c:pt idx="88">
                  <c:v>25</c:v>
                </c:pt>
                <c:pt idx="89">
                  <c:v>24</c:v>
                </c:pt>
                <c:pt idx="90">
                  <c:v>16</c:v>
                </c:pt>
                <c:pt idx="91">
                  <c:v>22</c:v>
                </c:pt>
                <c:pt idx="92">
                  <c:v>19</c:v>
                </c:pt>
                <c:pt idx="93">
                  <c:v>15</c:v>
                </c:pt>
                <c:pt idx="94">
                  <c:v>27</c:v>
                </c:pt>
                <c:pt idx="95">
                  <c:v>27</c:v>
                </c:pt>
                <c:pt idx="96">
                  <c:v>21</c:v>
                </c:pt>
                <c:pt idx="97">
                  <c:v>23</c:v>
                </c:pt>
                <c:pt idx="98">
                  <c:v>4</c:v>
                </c:pt>
                <c:pt idx="99">
                  <c:v>11</c:v>
                </c:pt>
                <c:pt idx="100">
                  <c:v>8</c:v>
                </c:pt>
                <c:pt idx="101">
                  <c:v>25</c:v>
                </c:pt>
                <c:pt idx="102">
                  <c:v>32</c:v>
                </c:pt>
                <c:pt idx="103">
                  <c:v>23</c:v>
                </c:pt>
                <c:pt idx="104">
                  <c:v>20</c:v>
                </c:pt>
                <c:pt idx="105">
                  <c:v>19</c:v>
                </c:pt>
                <c:pt idx="106">
                  <c:v>6</c:v>
                </c:pt>
                <c:pt idx="107">
                  <c:v>24</c:v>
                </c:pt>
                <c:pt idx="108">
                  <c:v>33</c:v>
                </c:pt>
                <c:pt idx="109">
                  <c:v>26</c:v>
                </c:pt>
                <c:pt idx="110">
                  <c:v>20</c:v>
                </c:pt>
                <c:pt idx="111">
                  <c:v>25</c:v>
                </c:pt>
                <c:pt idx="112">
                  <c:v>18</c:v>
                </c:pt>
                <c:pt idx="113">
                  <c:v>17</c:v>
                </c:pt>
                <c:pt idx="114">
                  <c:v>13</c:v>
                </c:pt>
                <c:pt idx="115">
                  <c:v>32</c:v>
                </c:pt>
                <c:pt idx="116">
                  <c:v>46</c:v>
                </c:pt>
                <c:pt idx="117">
                  <c:v>70</c:v>
                </c:pt>
                <c:pt idx="118">
                  <c:v>38</c:v>
                </c:pt>
                <c:pt idx="119">
                  <c:v>45</c:v>
                </c:pt>
                <c:pt idx="120">
                  <c:v>31</c:v>
                </c:pt>
                <c:pt idx="121">
                  <c:v>41</c:v>
                </c:pt>
                <c:pt idx="122">
                  <c:v>109</c:v>
                </c:pt>
                <c:pt idx="123">
                  <c:v>86</c:v>
                </c:pt>
                <c:pt idx="124">
                  <c:v>113</c:v>
                </c:pt>
                <c:pt idx="125">
                  <c:v>109</c:v>
                </c:pt>
                <c:pt idx="126">
                  <c:v>88</c:v>
                </c:pt>
                <c:pt idx="127">
                  <c:v>57</c:v>
                </c:pt>
                <c:pt idx="128">
                  <c:v>70</c:v>
                </c:pt>
                <c:pt idx="129">
                  <c:v>175</c:v>
                </c:pt>
                <c:pt idx="130">
                  <c:v>155</c:v>
                </c:pt>
                <c:pt idx="131">
                  <c:v>167</c:v>
                </c:pt>
                <c:pt idx="132">
                  <c:v>121</c:v>
                </c:pt>
                <c:pt idx="133">
                  <c:v>149</c:v>
                </c:pt>
                <c:pt idx="134">
                  <c:v>58</c:v>
                </c:pt>
                <c:pt idx="135">
                  <c:v>100</c:v>
                </c:pt>
                <c:pt idx="136">
                  <c:v>166</c:v>
                </c:pt>
                <c:pt idx="137">
                  <c:v>191</c:v>
                </c:pt>
                <c:pt idx="138">
                  <c:v>144</c:v>
                </c:pt>
                <c:pt idx="139">
                  <c:v>123</c:v>
                </c:pt>
                <c:pt idx="140">
                  <c:v>113</c:v>
                </c:pt>
                <c:pt idx="141">
                  <c:v>74</c:v>
                </c:pt>
                <c:pt idx="142">
                  <c:v>51</c:v>
                </c:pt>
                <c:pt idx="143">
                  <c:v>124</c:v>
                </c:pt>
                <c:pt idx="144">
                  <c:v>113</c:v>
                </c:pt>
                <c:pt idx="145">
                  <c:v>91</c:v>
                </c:pt>
                <c:pt idx="146">
                  <c:v>89</c:v>
                </c:pt>
                <c:pt idx="147">
                  <c:v>88</c:v>
                </c:pt>
                <c:pt idx="148">
                  <c:v>42</c:v>
                </c:pt>
                <c:pt idx="149">
                  <c:v>39</c:v>
                </c:pt>
                <c:pt idx="150">
                  <c:v>126</c:v>
                </c:pt>
                <c:pt idx="151">
                  <c:v>81</c:v>
                </c:pt>
                <c:pt idx="152">
                  <c:v>77</c:v>
                </c:pt>
                <c:pt idx="153">
                  <c:v>60</c:v>
                </c:pt>
                <c:pt idx="154">
                  <c:v>60</c:v>
                </c:pt>
                <c:pt idx="155">
                  <c:v>37</c:v>
                </c:pt>
                <c:pt idx="156">
                  <c:v>33</c:v>
                </c:pt>
                <c:pt idx="157">
                  <c:v>66</c:v>
                </c:pt>
                <c:pt idx="158">
                  <c:v>51</c:v>
                </c:pt>
                <c:pt idx="159">
                  <c:v>49</c:v>
                </c:pt>
                <c:pt idx="160">
                  <c:v>44</c:v>
                </c:pt>
                <c:pt idx="161">
                  <c:v>37</c:v>
                </c:pt>
                <c:pt idx="162">
                  <c:v>28</c:v>
                </c:pt>
                <c:pt idx="163">
                  <c:v>31</c:v>
                </c:pt>
                <c:pt idx="164">
                  <c:v>67</c:v>
                </c:pt>
                <c:pt idx="165">
                  <c:v>42</c:v>
                </c:pt>
                <c:pt idx="166">
                  <c:v>54</c:v>
                </c:pt>
                <c:pt idx="167">
                  <c:v>41</c:v>
                </c:pt>
                <c:pt idx="168">
                  <c:v>39</c:v>
                </c:pt>
                <c:pt idx="169">
                  <c:v>28</c:v>
                </c:pt>
                <c:pt idx="170">
                  <c:v>23</c:v>
                </c:pt>
                <c:pt idx="171">
                  <c:v>75</c:v>
                </c:pt>
                <c:pt idx="172">
                  <c:v>59</c:v>
                </c:pt>
                <c:pt idx="173">
                  <c:v>51</c:v>
                </c:pt>
                <c:pt idx="174">
                  <c:v>43</c:v>
                </c:pt>
                <c:pt idx="175">
                  <c:v>37</c:v>
                </c:pt>
                <c:pt idx="176">
                  <c:v>20</c:v>
                </c:pt>
                <c:pt idx="177">
                  <c:v>27</c:v>
                </c:pt>
                <c:pt idx="178">
                  <c:v>77</c:v>
                </c:pt>
                <c:pt idx="179">
                  <c:v>50</c:v>
                </c:pt>
                <c:pt idx="180">
                  <c:v>52</c:v>
                </c:pt>
                <c:pt idx="181">
                  <c:v>44</c:v>
                </c:pt>
                <c:pt idx="182">
                  <c:v>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5.3261617930248735E-3"/>
                  <c:y val="-2.331269142410825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954283177984905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17.09.21</c:v>
                </c:pt>
                <c:pt idx="1">
                  <c:v>18.09.21</c:v>
                </c:pt>
                <c:pt idx="2">
                  <c:v>19.09.21</c:v>
                </c:pt>
                <c:pt idx="3">
                  <c:v>20.09.21</c:v>
                </c:pt>
                <c:pt idx="4">
                  <c:v>21.09.21</c:v>
                </c:pt>
                <c:pt idx="5">
                  <c:v>22.09.21</c:v>
                </c:pt>
                <c:pt idx="6">
                  <c:v>23.09.21</c:v>
                </c:pt>
                <c:pt idx="7">
                  <c:v>24.09.21</c:v>
                </c:pt>
                <c:pt idx="8">
                  <c:v>25.09.21</c:v>
                </c:pt>
                <c:pt idx="9">
                  <c:v>26.09.21</c:v>
                </c:pt>
                <c:pt idx="10">
                  <c:v>27.09.21</c:v>
                </c:pt>
                <c:pt idx="11">
                  <c:v>28.09.21</c:v>
                </c:pt>
                <c:pt idx="12">
                  <c:v>29.09.21</c:v>
                </c:pt>
                <c:pt idx="13">
                  <c:v>30.09.21</c:v>
                </c:pt>
                <c:pt idx="14">
                  <c:v>01.10.21</c:v>
                </c:pt>
                <c:pt idx="15">
                  <c:v>02.10.21</c:v>
                </c:pt>
                <c:pt idx="16">
                  <c:v>03.10.21</c:v>
                </c:pt>
                <c:pt idx="17">
                  <c:v>04.10.21</c:v>
                </c:pt>
                <c:pt idx="18">
                  <c:v>05.10.21</c:v>
                </c:pt>
                <c:pt idx="19">
                  <c:v>06.10.21</c:v>
                </c:pt>
                <c:pt idx="20">
                  <c:v>07.10.21</c:v>
                </c:pt>
                <c:pt idx="21">
                  <c:v>08.10.21</c:v>
                </c:pt>
                <c:pt idx="22">
                  <c:v>09.10.21</c:v>
                </c:pt>
                <c:pt idx="23">
                  <c:v>10.10.21</c:v>
                </c:pt>
                <c:pt idx="24">
                  <c:v>11.10.21</c:v>
                </c:pt>
                <c:pt idx="25">
                  <c:v>12.10.21</c:v>
                </c:pt>
                <c:pt idx="26">
                  <c:v>13.10.21</c:v>
                </c:pt>
                <c:pt idx="27">
                  <c:v>14.10.21</c:v>
                </c:pt>
                <c:pt idx="28">
                  <c:v>15.10.21</c:v>
                </c:pt>
                <c:pt idx="29">
                  <c:v>16.10.21</c:v>
                </c:pt>
                <c:pt idx="30">
                  <c:v>17.10.21</c:v>
                </c:pt>
                <c:pt idx="31">
                  <c:v>18.10.21</c:v>
                </c:pt>
                <c:pt idx="32">
                  <c:v>19.10.21</c:v>
                </c:pt>
                <c:pt idx="33">
                  <c:v>20.10.21</c:v>
                </c:pt>
                <c:pt idx="34">
                  <c:v>21.10.21</c:v>
                </c:pt>
                <c:pt idx="35">
                  <c:v>22.10.21</c:v>
                </c:pt>
                <c:pt idx="36">
                  <c:v>23.10.21</c:v>
                </c:pt>
                <c:pt idx="37">
                  <c:v>24.10.21</c:v>
                </c:pt>
                <c:pt idx="38">
                  <c:v>25.10.21</c:v>
                </c:pt>
                <c:pt idx="39">
                  <c:v>26.10.21</c:v>
                </c:pt>
                <c:pt idx="40">
                  <c:v>27.10.21</c:v>
                </c:pt>
                <c:pt idx="41">
                  <c:v>28.10.21</c:v>
                </c:pt>
                <c:pt idx="42">
                  <c:v>29.10.21</c:v>
                </c:pt>
                <c:pt idx="43">
                  <c:v>30.10.21</c:v>
                </c:pt>
                <c:pt idx="44">
                  <c:v>31.10.21</c:v>
                </c:pt>
                <c:pt idx="45">
                  <c:v>01.11.21</c:v>
                </c:pt>
                <c:pt idx="46">
                  <c:v>02.11.21</c:v>
                </c:pt>
                <c:pt idx="47">
                  <c:v>03.11.21</c:v>
                </c:pt>
                <c:pt idx="48">
                  <c:v>04.11.21</c:v>
                </c:pt>
                <c:pt idx="49">
                  <c:v>05.11.21</c:v>
                </c:pt>
                <c:pt idx="50">
                  <c:v>06.11.21</c:v>
                </c:pt>
                <c:pt idx="51">
                  <c:v>07.11.21</c:v>
                </c:pt>
                <c:pt idx="52">
                  <c:v>08.11.21</c:v>
                </c:pt>
                <c:pt idx="53">
                  <c:v>09.11.21</c:v>
                </c:pt>
                <c:pt idx="54">
                  <c:v>10.11.21</c:v>
                </c:pt>
                <c:pt idx="55">
                  <c:v>11.11.21</c:v>
                </c:pt>
                <c:pt idx="56">
                  <c:v>12.11.21</c:v>
                </c:pt>
                <c:pt idx="57">
                  <c:v>13.11.21</c:v>
                </c:pt>
                <c:pt idx="58">
                  <c:v>14.11.21</c:v>
                </c:pt>
                <c:pt idx="59">
                  <c:v>15.11.21</c:v>
                </c:pt>
                <c:pt idx="60">
                  <c:v>16.11.21</c:v>
                </c:pt>
                <c:pt idx="61">
                  <c:v>17.11.21</c:v>
                </c:pt>
                <c:pt idx="62">
                  <c:v>18.11.21</c:v>
                </c:pt>
                <c:pt idx="63">
                  <c:v>19.11.21</c:v>
                </c:pt>
                <c:pt idx="64">
                  <c:v>20.11.21</c:v>
                </c:pt>
                <c:pt idx="65">
                  <c:v>21.11.21</c:v>
                </c:pt>
                <c:pt idx="66">
                  <c:v>22.11.21</c:v>
                </c:pt>
                <c:pt idx="67">
                  <c:v>23.11.21</c:v>
                </c:pt>
                <c:pt idx="68">
                  <c:v>24.11.21</c:v>
                </c:pt>
                <c:pt idx="69">
                  <c:v>25.11.21</c:v>
                </c:pt>
                <c:pt idx="70">
                  <c:v>26.11.21</c:v>
                </c:pt>
                <c:pt idx="71">
                  <c:v>27.11.21</c:v>
                </c:pt>
                <c:pt idx="72">
                  <c:v>28.11.21</c:v>
                </c:pt>
                <c:pt idx="73">
                  <c:v>29.11.21</c:v>
                </c:pt>
                <c:pt idx="74">
                  <c:v>30.11.21</c:v>
                </c:pt>
                <c:pt idx="75">
                  <c:v>01.12.21</c:v>
                </c:pt>
                <c:pt idx="76">
                  <c:v>02.12.21</c:v>
                </c:pt>
                <c:pt idx="77">
                  <c:v>03.12.21</c:v>
                </c:pt>
                <c:pt idx="78">
                  <c:v>04.12.21</c:v>
                </c:pt>
                <c:pt idx="79">
                  <c:v>05.12.21</c:v>
                </c:pt>
                <c:pt idx="80">
                  <c:v>06.12.21</c:v>
                </c:pt>
                <c:pt idx="81">
                  <c:v>07.12.21</c:v>
                </c:pt>
                <c:pt idx="82">
                  <c:v>08.12.21</c:v>
                </c:pt>
                <c:pt idx="83">
                  <c:v>09.12.21</c:v>
                </c:pt>
                <c:pt idx="84">
                  <c:v>10.12.21</c:v>
                </c:pt>
                <c:pt idx="85">
                  <c:v>11.12.21</c:v>
                </c:pt>
                <c:pt idx="86">
                  <c:v>12.12.21</c:v>
                </c:pt>
                <c:pt idx="87">
                  <c:v>13.12.21</c:v>
                </c:pt>
                <c:pt idx="88">
                  <c:v>14.12.21</c:v>
                </c:pt>
                <c:pt idx="89">
                  <c:v>15.12.21</c:v>
                </c:pt>
                <c:pt idx="90">
                  <c:v>16.12.21</c:v>
                </c:pt>
                <c:pt idx="91">
                  <c:v>17.12.21</c:v>
                </c:pt>
                <c:pt idx="92">
                  <c:v>18.12.21</c:v>
                </c:pt>
                <c:pt idx="93">
                  <c:v>19.12.21</c:v>
                </c:pt>
                <c:pt idx="94">
                  <c:v>20.12.21</c:v>
                </c:pt>
                <c:pt idx="95">
                  <c:v>21.12.21</c:v>
                </c:pt>
                <c:pt idx="96">
                  <c:v>22.12.21</c:v>
                </c:pt>
                <c:pt idx="97">
                  <c:v>23.12.21</c:v>
                </c:pt>
                <c:pt idx="98">
                  <c:v>24.12.21</c:v>
                </c:pt>
                <c:pt idx="99">
                  <c:v>25.12.21</c:v>
                </c:pt>
                <c:pt idx="100">
                  <c:v>26.12.21</c:v>
                </c:pt>
                <c:pt idx="101">
                  <c:v>27.12.21</c:v>
                </c:pt>
                <c:pt idx="102">
                  <c:v>28.12.21</c:v>
                </c:pt>
                <c:pt idx="103">
                  <c:v>29.12.21</c:v>
                </c:pt>
                <c:pt idx="104">
                  <c:v>30.12.21</c:v>
                </c:pt>
                <c:pt idx="105">
                  <c:v>31.12.21</c:v>
                </c:pt>
                <c:pt idx="106">
                  <c:v>01.01.22</c:v>
                </c:pt>
                <c:pt idx="107">
                  <c:v>02.01.22</c:v>
                </c:pt>
                <c:pt idx="108">
                  <c:v>03.01.22</c:v>
                </c:pt>
                <c:pt idx="109">
                  <c:v>04.01.22</c:v>
                </c:pt>
                <c:pt idx="110">
                  <c:v>05.01.22</c:v>
                </c:pt>
                <c:pt idx="111">
                  <c:v>06.01.22</c:v>
                </c:pt>
                <c:pt idx="112">
                  <c:v>07.01.22</c:v>
                </c:pt>
                <c:pt idx="113">
                  <c:v>08.01.22</c:v>
                </c:pt>
                <c:pt idx="114">
                  <c:v>09.01.22</c:v>
                </c:pt>
                <c:pt idx="115">
                  <c:v>10.01.22</c:v>
                </c:pt>
                <c:pt idx="116">
                  <c:v>11.01.22</c:v>
                </c:pt>
                <c:pt idx="117">
                  <c:v>12.01.22</c:v>
                </c:pt>
                <c:pt idx="118">
                  <c:v>13.01.22</c:v>
                </c:pt>
                <c:pt idx="119">
                  <c:v>14.01.22</c:v>
                </c:pt>
                <c:pt idx="120">
                  <c:v>15.01.22</c:v>
                </c:pt>
                <c:pt idx="121">
                  <c:v>16.01.22</c:v>
                </c:pt>
                <c:pt idx="122">
                  <c:v>17.01.22</c:v>
                </c:pt>
                <c:pt idx="123">
                  <c:v>18.01.22</c:v>
                </c:pt>
                <c:pt idx="124">
                  <c:v>19.01.22</c:v>
                </c:pt>
                <c:pt idx="125">
                  <c:v>20.01.22</c:v>
                </c:pt>
                <c:pt idx="126">
                  <c:v>21.01.22</c:v>
                </c:pt>
                <c:pt idx="127">
                  <c:v>22.01.22</c:v>
                </c:pt>
                <c:pt idx="128">
                  <c:v>23.01.22</c:v>
                </c:pt>
                <c:pt idx="129">
                  <c:v>24.01.22</c:v>
                </c:pt>
                <c:pt idx="130">
                  <c:v>25.01.22</c:v>
                </c:pt>
                <c:pt idx="131">
                  <c:v>26.01.22</c:v>
                </c:pt>
                <c:pt idx="132">
                  <c:v>27.01.22</c:v>
                </c:pt>
                <c:pt idx="133">
                  <c:v>28.01.22</c:v>
                </c:pt>
                <c:pt idx="134">
                  <c:v>29.01.22</c:v>
                </c:pt>
                <c:pt idx="135">
                  <c:v>30.01.22</c:v>
                </c:pt>
                <c:pt idx="136">
                  <c:v>31.01.22</c:v>
                </c:pt>
                <c:pt idx="137">
                  <c:v>01.02.22</c:v>
                </c:pt>
                <c:pt idx="138">
                  <c:v>02.02.22</c:v>
                </c:pt>
                <c:pt idx="139">
                  <c:v>03.02.22</c:v>
                </c:pt>
                <c:pt idx="140">
                  <c:v>04.02.22</c:v>
                </c:pt>
                <c:pt idx="141">
                  <c:v>05.02.22</c:v>
                </c:pt>
                <c:pt idx="142">
                  <c:v>06.02.22</c:v>
                </c:pt>
                <c:pt idx="143">
                  <c:v>07.02.22</c:v>
                </c:pt>
                <c:pt idx="144">
                  <c:v>08.02.22</c:v>
                </c:pt>
                <c:pt idx="145">
                  <c:v>09.02.22</c:v>
                </c:pt>
                <c:pt idx="146">
                  <c:v>10.02.22</c:v>
                </c:pt>
                <c:pt idx="147">
                  <c:v>11.02.22</c:v>
                </c:pt>
                <c:pt idx="148">
                  <c:v>12.02.22</c:v>
                </c:pt>
                <c:pt idx="149">
                  <c:v>13.02.22</c:v>
                </c:pt>
                <c:pt idx="150">
                  <c:v>14.02.22</c:v>
                </c:pt>
                <c:pt idx="151">
                  <c:v>15.02.22</c:v>
                </c:pt>
                <c:pt idx="152">
                  <c:v>16.02.22</c:v>
                </c:pt>
                <c:pt idx="153">
                  <c:v>17.02.22</c:v>
                </c:pt>
                <c:pt idx="154">
                  <c:v>18.02.22</c:v>
                </c:pt>
                <c:pt idx="155">
                  <c:v>19.02.22</c:v>
                </c:pt>
                <c:pt idx="156">
                  <c:v>20.02.22</c:v>
                </c:pt>
                <c:pt idx="157">
                  <c:v>21.02.22</c:v>
                </c:pt>
                <c:pt idx="158">
                  <c:v>22.02.22</c:v>
                </c:pt>
                <c:pt idx="159">
                  <c:v>23.02.22</c:v>
                </c:pt>
                <c:pt idx="160">
                  <c:v>24.02.22</c:v>
                </c:pt>
                <c:pt idx="161">
                  <c:v>25.02.22</c:v>
                </c:pt>
                <c:pt idx="162">
                  <c:v>26.02.22</c:v>
                </c:pt>
                <c:pt idx="163">
                  <c:v>27.02.22</c:v>
                </c:pt>
                <c:pt idx="164">
                  <c:v>28.02.22</c:v>
                </c:pt>
                <c:pt idx="165">
                  <c:v>01.03.22</c:v>
                </c:pt>
                <c:pt idx="166">
                  <c:v>02.03.22</c:v>
                </c:pt>
                <c:pt idx="167">
                  <c:v>03.03.22</c:v>
                </c:pt>
                <c:pt idx="168">
                  <c:v>04.03.22</c:v>
                </c:pt>
                <c:pt idx="169">
                  <c:v>05.03.22</c:v>
                </c:pt>
                <c:pt idx="170">
                  <c:v>06.03.22</c:v>
                </c:pt>
                <c:pt idx="171">
                  <c:v>07.03.22</c:v>
                </c:pt>
                <c:pt idx="172">
                  <c:v>08.03.22</c:v>
                </c:pt>
                <c:pt idx="173">
                  <c:v>09.03.22</c:v>
                </c:pt>
                <c:pt idx="174">
                  <c:v>10.03.22</c:v>
                </c:pt>
                <c:pt idx="175">
                  <c:v>11.03.22</c:v>
                </c:pt>
                <c:pt idx="176">
                  <c:v>12.03.22</c:v>
                </c:pt>
                <c:pt idx="177">
                  <c:v>13.03.22</c:v>
                </c:pt>
                <c:pt idx="178">
                  <c:v>14.03.22</c:v>
                </c:pt>
                <c:pt idx="179">
                  <c:v>15.03.22</c:v>
                </c:pt>
                <c:pt idx="180">
                  <c:v>16.03.22</c:v>
                </c:pt>
                <c:pt idx="181">
                  <c:v>17.03.22</c:v>
                </c:pt>
                <c:pt idx="182">
                  <c:v>18.03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4</c:v>
                </c:pt>
                <c:pt idx="1">
                  <c:v>2</c:v>
                </c:pt>
                <c:pt idx="2">
                  <c:v>2</c:v>
                </c:pt>
                <c:pt idx="3">
                  <c:v>9</c:v>
                </c:pt>
                <c:pt idx="4">
                  <c:v>7</c:v>
                </c:pt>
                <c:pt idx="5">
                  <c:v>5</c:v>
                </c:pt>
                <c:pt idx="6">
                  <c:v>5</c:v>
                </c:pt>
                <c:pt idx="7">
                  <c:v>7</c:v>
                </c:pt>
                <c:pt idx="8">
                  <c:v>6</c:v>
                </c:pt>
                <c:pt idx="9">
                  <c:v>6</c:v>
                </c:pt>
                <c:pt idx="10">
                  <c:v>5</c:v>
                </c:pt>
                <c:pt idx="11">
                  <c:v>7</c:v>
                </c:pt>
                <c:pt idx="12">
                  <c:v>12</c:v>
                </c:pt>
                <c:pt idx="13">
                  <c:v>15</c:v>
                </c:pt>
                <c:pt idx="14">
                  <c:v>7</c:v>
                </c:pt>
                <c:pt idx="15">
                  <c:v>5</c:v>
                </c:pt>
                <c:pt idx="16">
                  <c:v>8</c:v>
                </c:pt>
                <c:pt idx="17">
                  <c:v>10</c:v>
                </c:pt>
                <c:pt idx="18">
                  <c:v>13</c:v>
                </c:pt>
                <c:pt idx="19">
                  <c:v>8</c:v>
                </c:pt>
                <c:pt idx="20">
                  <c:v>8</c:v>
                </c:pt>
                <c:pt idx="21">
                  <c:v>9</c:v>
                </c:pt>
                <c:pt idx="22">
                  <c:v>5</c:v>
                </c:pt>
                <c:pt idx="23">
                  <c:v>4</c:v>
                </c:pt>
                <c:pt idx="24">
                  <c:v>17</c:v>
                </c:pt>
                <c:pt idx="25">
                  <c:v>17</c:v>
                </c:pt>
                <c:pt idx="26">
                  <c:v>20</c:v>
                </c:pt>
                <c:pt idx="27">
                  <c:v>19</c:v>
                </c:pt>
                <c:pt idx="28">
                  <c:v>17</c:v>
                </c:pt>
                <c:pt idx="29">
                  <c:v>10</c:v>
                </c:pt>
                <c:pt idx="30">
                  <c:v>10</c:v>
                </c:pt>
                <c:pt idx="31">
                  <c:v>32</c:v>
                </c:pt>
                <c:pt idx="32">
                  <c:v>24</c:v>
                </c:pt>
                <c:pt idx="33">
                  <c:v>25</c:v>
                </c:pt>
                <c:pt idx="34">
                  <c:v>49</c:v>
                </c:pt>
                <c:pt idx="35">
                  <c:v>38</c:v>
                </c:pt>
                <c:pt idx="36">
                  <c:v>31</c:v>
                </c:pt>
                <c:pt idx="37">
                  <c:v>12</c:v>
                </c:pt>
                <c:pt idx="38">
                  <c:v>58</c:v>
                </c:pt>
                <c:pt idx="39">
                  <c:v>63</c:v>
                </c:pt>
                <c:pt idx="40">
                  <c:v>69</c:v>
                </c:pt>
                <c:pt idx="41">
                  <c:v>30</c:v>
                </c:pt>
                <c:pt idx="42">
                  <c:v>77</c:v>
                </c:pt>
                <c:pt idx="43">
                  <c:v>55</c:v>
                </c:pt>
                <c:pt idx="44">
                  <c:v>37</c:v>
                </c:pt>
                <c:pt idx="45">
                  <c:v>103</c:v>
                </c:pt>
                <c:pt idx="46">
                  <c:v>99</c:v>
                </c:pt>
                <c:pt idx="47">
                  <c:v>106</c:v>
                </c:pt>
                <c:pt idx="48">
                  <c:v>96</c:v>
                </c:pt>
                <c:pt idx="49">
                  <c:v>104</c:v>
                </c:pt>
                <c:pt idx="50">
                  <c:v>79</c:v>
                </c:pt>
                <c:pt idx="51">
                  <c:v>24</c:v>
                </c:pt>
                <c:pt idx="52">
                  <c:v>121</c:v>
                </c:pt>
                <c:pt idx="53">
                  <c:v>132</c:v>
                </c:pt>
                <c:pt idx="54">
                  <c:v>164</c:v>
                </c:pt>
                <c:pt idx="55">
                  <c:v>92</c:v>
                </c:pt>
                <c:pt idx="56">
                  <c:v>151</c:v>
                </c:pt>
                <c:pt idx="57">
                  <c:v>87</c:v>
                </c:pt>
                <c:pt idx="58">
                  <c:v>52</c:v>
                </c:pt>
                <c:pt idx="59">
                  <c:v>145</c:v>
                </c:pt>
                <c:pt idx="60">
                  <c:v>213</c:v>
                </c:pt>
                <c:pt idx="61">
                  <c:v>107</c:v>
                </c:pt>
                <c:pt idx="62">
                  <c:v>154</c:v>
                </c:pt>
                <c:pt idx="63">
                  <c:v>210</c:v>
                </c:pt>
                <c:pt idx="64">
                  <c:v>146</c:v>
                </c:pt>
                <c:pt idx="65">
                  <c:v>78</c:v>
                </c:pt>
                <c:pt idx="66">
                  <c:v>177</c:v>
                </c:pt>
                <c:pt idx="67">
                  <c:v>236</c:v>
                </c:pt>
                <c:pt idx="68">
                  <c:v>126</c:v>
                </c:pt>
                <c:pt idx="69">
                  <c:v>199</c:v>
                </c:pt>
                <c:pt idx="70">
                  <c:v>173</c:v>
                </c:pt>
                <c:pt idx="71">
                  <c:v>99</c:v>
                </c:pt>
                <c:pt idx="72">
                  <c:v>74</c:v>
                </c:pt>
                <c:pt idx="73">
                  <c:v>192</c:v>
                </c:pt>
                <c:pt idx="74">
                  <c:v>151</c:v>
                </c:pt>
                <c:pt idx="75">
                  <c:v>157</c:v>
                </c:pt>
                <c:pt idx="76">
                  <c:v>138</c:v>
                </c:pt>
                <c:pt idx="77">
                  <c:v>126</c:v>
                </c:pt>
                <c:pt idx="78">
                  <c:v>77</c:v>
                </c:pt>
                <c:pt idx="79">
                  <c:v>61</c:v>
                </c:pt>
                <c:pt idx="80">
                  <c:v>151</c:v>
                </c:pt>
                <c:pt idx="81">
                  <c:v>143</c:v>
                </c:pt>
                <c:pt idx="82">
                  <c:v>107</c:v>
                </c:pt>
                <c:pt idx="83">
                  <c:v>116</c:v>
                </c:pt>
                <c:pt idx="84">
                  <c:v>104</c:v>
                </c:pt>
                <c:pt idx="85">
                  <c:v>69</c:v>
                </c:pt>
                <c:pt idx="86">
                  <c:v>50</c:v>
                </c:pt>
                <c:pt idx="87">
                  <c:v>95</c:v>
                </c:pt>
                <c:pt idx="88">
                  <c:v>112</c:v>
                </c:pt>
                <c:pt idx="89">
                  <c:v>78</c:v>
                </c:pt>
                <c:pt idx="90">
                  <c:v>61</c:v>
                </c:pt>
                <c:pt idx="91">
                  <c:v>71</c:v>
                </c:pt>
                <c:pt idx="92">
                  <c:v>44</c:v>
                </c:pt>
                <c:pt idx="93">
                  <c:v>30</c:v>
                </c:pt>
                <c:pt idx="94">
                  <c:v>82</c:v>
                </c:pt>
                <c:pt idx="95">
                  <c:v>74</c:v>
                </c:pt>
                <c:pt idx="96">
                  <c:v>50</c:v>
                </c:pt>
                <c:pt idx="97">
                  <c:v>54</c:v>
                </c:pt>
                <c:pt idx="98">
                  <c:v>17</c:v>
                </c:pt>
                <c:pt idx="99">
                  <c:v>18</c:v>
                </c:pt>
                <c:pt idx="100">
                  <c:v>17</c:v>
                </c:pt>
                <c:pt idx="101">
                  <c:v>71</c:v>
                </c:pt>
                <c:pt idx="102">
                  <c:v>86</c:v>
                </c:pt>
                <c:pt idx="103">
                  <c:v>50</c:v>
                </c:pt>
                <c:pt idx="104">
                  <c:v>45</c:v>
                </c:pt>
                <c:pt idx="105">
                  <c:v>44</c:v>
                </c:pt>
                <c:pt idx="106">
                  <c:v>10</c:v>
                </c:pt>
                <c:pt idx="107">
                  <c:v>32</c:v>
                </c:pt>
                <c:pt idx="108">
                  <c:v>82</c:v>
                </c:pt>
                <c:pt idx="109">
                  <c:v>67</c:v>
                </c:pt>
                <c:pt idx="110">
                  <c:v>44</c:v>
                </c:pt>
                <c:pt idx="111">
                  <c:v>49</c:v>
                </c:pt>
                <c:pt idx="112">
                  <c:v>55</c:v>
                </c:pt>
                <c:pt idx="113">
                  <c:v>32</c:v>
                </c:pt>
                <c:pt idx="114">
                  <c:v>22</c:v>
                </c:pt>
                <c:pt idx="115">
                  <c:v>59</c:v>
                </c:pt>
                <c:pt idx="116">
                  <c:v>89</c:v>
                </c:pt>
                <c:pt idx="117">
                  <c:v>79</c:v>
                </c:pt>
                <c:pt idx="118">
                  <c:v>77</c:v>
                </c:pt>
                <c:pt idx="119">
                  <c:v>77</c:v>
                </c:pt>
                <c:pt idx="120">
                  <c:v>73</c:v>
                </c:pt>
                <c:pt idx="121">
                  <c:v>43</c:v>
                </c:pt>
                <c:pt idx="122">
                  <c:v>179</c:v>
                </c:pt>
                <c:pt idx="123">
                  <c:v>196</c:v>
                </c:pt>
                <c:pt idx="124">
                  <c:v>186</c:v>
                </c:pt>
                <c:pt idx="125">
                  <c:v>202</c:v>
                </c:pt>
                <c:pt idx="126">
                  <c:v>248</c:v>
                </c:pt>
                <c:pt idx="127">
                  <c:v>131</c:v>
                </c:pt>
                <c:pt idx="128">
                  <c:v>110</c:v>
                </c:pt>
                <c:pt idx="129">
                  <c:v>324</c:v>
                </c:pt>
                <c:pt idx="130">
                  <c:v>325</c:v>
                </c:pt>
                <c:pt idx="131">
                  <c:v>408</c:v>
                </c:pt>
                <c:pt idx="132">
                  <c:v>339</c:v>
                </c:pt>
                <c:pt idx="133">
                  <c:v>423</c:v>
                </c:pt>
                <c:pt idx="134">
                  <c:v>148</c:v>
                </c:pt>
                <c:pt idx="135">
                  <c:v>212</c:v>
                </c:pt>
                <c:pt idx="136">
                  <c:v>457</c:v>
                </c:pt>
                <c:pt idx="137">
                  <c:v>488</c:v>
                </c:pt>
                <c:pt idx="138">
                  <c:v>392</c:v>
                </c:pt>
                <c:pt idx="139">
                  <c:v>358</c:v>
                </c:pt>
                <c:pt idx="140">
                  <c:v>283</c:v>
                </c:pt>
                <c:pt idx="141">
                  <c:v>232</c:v>
                </c:pt>
                <c:pt idx="142">
                  <c:v>123</c:v>
                </c:pt>
                <c:pt idx="143">
                  <c:v>418</c:v>
                </c:pt>
                <c:pt idx="144">
                  <c:v>382</c:v>
                </c:pt>
                <c:pt idx="145">
                  <c:v>301</c:v>
                </c:pt>
                <c:pt idx="146">
                  <c:v>262</c:v>
                </c:pt>
                <c:pt idx="147">
                  <c:v>233</c:v>
                </c:pt>
                <c:pt idx="148">
                  <c:v>141</c:v>
                </c:pt>
                <c:pt idx="149">
                  <c:v>107</c:v>
                </c:pt>
                <c:pt idx="150">
                  <c:v>280</c:v>
                </c:pt>
                <c:pt idx="151">
                  <c:v>295</c:v>
                </c:pt>
                <c:pt idx="152">
                  <c:v>226</c:v>
                </c:pt>
                <c:pt idx="153">
                  <c:v>195</c:v>
                </c:pt>
                <c:pt idx="154">
                  <c:v>178</c:v>
                </c:pt>
                <c:pt idx="155">
                  <c:v>87</c:v>
                </c:pt>
                <c:pt idx="156">
                  <c:v>64</c:v>
                </c:pt>
                <c:pt idx="157">
                  <c:v>216</c:v>
                </c:pt>
                <c:pt idx="158">
                  <c:v>159</c:v>
                </c:pt>
                <c:pt idx="159">
                  <c:v>111</c:v>
                </c:pt>
                <c:pt idx="160">
                  <c:v>118</c:v>
                </c:pt>
                <c:pt idx="161">
                  <c:v>112</c:v>
                </c:pt>
                <c:pt idx="162">
                  <c:v>68</c:v>
                </c:pt>
                <c:pt idx="163">
                  <c:v>55</c:v>
                </c:pt>
                <c:pt idx="164">
                  <c:v>149</c:v>
                </c:pt>
                <c:pt idx="165">
                  <c:v>147</c:v>
                </c:pt>
                <c:pt idx="166">
                  <c:v>116</c:v>
                </c:pt>
                <c:pt idx="167">
                  <c:v>102</c:v>
                </c:pt>
                <c:pt idx="168">
                  <c:v>115</c:v>
                </c:pt>
                <c:pt idx="169">
                  <c:v>72</c:v>
                </c:pt>
                <c:pt idx="170">
                  <c:v>36</c:v>
                </c:pt>
                <c:pt idx="171">
                  <c:v>161</c:v>
                </c:pt>
                <c:pt idx="172">
                  <c:v>119</c:v>
                </c:pt>
                <c:pt idx="173">
                  <c:v>123</c:v>
                </c:pt>
                <c:pt idx="174">
                  <c:v>111</c:v>
                </c:pt>
                <c:pt idx="175">
                  <c:v>111</c:v>
                </c:pt>
                <c:pt idx="176">
                  <c:v>60</c:v>
                </c:pt>
                <c:pt idx="177">
                  <c:v>35</c:v>
                </c:pt>
                <c:pt idx="178">
                  <c:v>156</c:v>
                </c:pt>
                <c:pt idx="179">
                  <c:v>125</c:v>
                </c:pt>
                <c:pt idx="180">
                  <c:v>110</c:v>
                </c:pt>
                <c:pt idx="181">
                  <c:v>111</c:v>
                </c:pt>
                <c:pt idx="182">
                  <c:v>1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3.550821127385838E-3"/>
                  <c:y val="2.098159666865834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17.09.21</c:v>
                </c:pt>
                <c:pt idx="1">
                  <c:v>18.09.21</c:v>
                </c:pt>
                <c:pt idx="2">
                  <c:v>19.09.21</c:v>
                </c:pt>
                <c:pt idx="3">
                  <c:v>20.09.21</c:v>
                </c:pt>
                <c:pt idx="4">
                  <c:v>21.09.21</c:v>
                </c:pt>
                <c:pt idx="5">
                  <c:v>22.09.21</c:v>
                </c:pt>
                <c:pt idx="6">
                  <c:v>23.09.21</c:v>
                </c:pt>
                <c:pt idx="7">
                  <c:v>24.09.21</c:v>
                </c:pt>
                <c:pt idx="8">
                  <c:v>25.09.21</c:v>
                </c:pt>
                <c:pt idx="9">
                  <c:v>26.09.21</c:v>
                </c:pt>
                <c:pt idx="10">
                  <c:v>27.09.21</c:v>
                </c:pt>
                <c:pt idx="11">
                  <c:v>28.09.21</c:v>
                </c:pt>
                <c:pt idx="12">
                  <c:v>29.09.21</c:v>
                </c:pt>
                <c:pt idx="13">
                  <c:v>30.09.21</c:v>
                </c:pt>
                <c:pt idx="14">
                  <c:v>01.10.21</c:v>
                </c:pt>
                <c:pt idx="15">
                  <c:v>02.10.21</c:v>
                </c:pt>
                <c:pt idx="16">
                  <c:v>03.10.21</c:v>
                </c:pt>
                <c:pt idx="17">
                  <c:v>04.10.21</c:v>
                </c:pt>
                <c:pt idx="18">
                  <c:v>05.10.21</c:v>
                </c:pt>
                <c:pt idx="19">
                  <c:v>06.10.21</c:v>
                </c:pt>
                <c:pt idx="20">
                  <c:v>07.10.21</c:v>
                </c:pt>
                <c:pt idx="21">
                  <c:v>08.10.21</c:v>
                </c:pt>
                <c:pt idx="22">
                  <c:v>09.10.21</c:v>
                </c:pt>
                <c:pt idx="23">
                  <c:v>10.10.21</c:v>
                </c:pt>
                <c:pt idx="24">
                  <c:v>11.10.21</c:v>
                </c:pt>
                <c:pt idx="25">
                  <c:v>12.10.21</c:v>
                </c:pt>
                <c:pt idx="26">
                  <c:v>13.10.21</c:v>
                </c:pt>
                <c:pt idx="27">
                  <c:v>14.10.21</c:v>
                </c:pt>
                <c:pt idx="28">
                  <c:v>15.10.21</c:v>
                </c:pt>
                <c:pt idx="29">
                  <c:v>16.10.21</c:v>
                </c:pt>
                <c:pt idx="30">
                  <c:v>17.10.21</c:v>
                </c:pt>
                <c:pt idx="31">
                  <c:v>18.10.21</c:v>
                </c:pt>
                <c:pt idx="32">
                  <c:v>19.10.21</c:v>
                </c:pt>
                <c:pt idx="33">
                  <c:v>20.10.21</c:v>
                </c:pt>
                <c:pt idx="34">
                  <c:v>21.10.21</c:v>
                </c:pt>
                <c:pt idx="35">
                  <c:v>22.10.21</c:v>
                </c:pt>
                <c:pt idx="36">
                  <c:v>23.10.21</c:v>
                </c:pt>
                <c:pt idx="37">
                  <c:v>24.10.21</c:v>
                </c:pt>
                <c:pt idx="38">
                  <c:v>25.10.21</c:v>
                </c:pt>
                <c:pt idx="39">
                  <c:v>26.10.21</c:v>
                </c:pt>
                <c:pt idx="40">
                  <c:v>27.10.21</c:v>
                </c:pt>
                <c:pt idx="41">
                  <c:v>28.10.21</c:v>
                </c:pt>
                <c:pt idx="42">
                  <c:v>29.10.21</c:v>
                </c:pt>
                <c:pt idx="43">
                  <c:v>30.10.21</c:v>
                </c:pt>
                <c:pt idx="44">
                  <c:v>31.10.21</c:v>
                </c:pt>
                <c:pt idx="45">
                  <c:v>01.11.21</c:v>
                </c:pt>
                <c:pt idx="46">
                  <c:v>02.11.21</c:v>
                </c:pt>
                <c:pt idx="47">
                  <c:v>03.11.21</c:v>
                </c:pt>
                <c:pt idx="48">
                  <c:v>04.11.21</c:v>
                </c:pt>
                <c:pt idx="49">
                  <c:v>05.11.21</c:v>
                </c:pt>
                <c:pt idx="50">
                  <c:v>06.11.21</c:v>
                </c:pt>
                <c:pt idx="51">
                  <c:v>07.11.21</c:v>
                </c:pt>
                <c:pt idx="52">
                  <c:v>08.11.21</c:v>
                </c:pt>
                <c:pt idx="53">
                  <c:v>09.11.21</c:v>
                </c:pt>
                <c:pt idx="54">
                  <c:v>10.11.21</c:v>
                </c:pt>
                <c:pt idx="55">
                  <c:v>11.11.21</c:v>
                </c:pt>
                <c:pt idx="56">
                  <c:v>12.11.21</c:v>
                </c:pt>
                <c:pt idx="57">
                  <c:v>13.11.21</c:v>
                </c:pt>
                <c:pt idx="58">
                  <c:v>14.11.21</c:v>
                </c:pt>
                <c:pt idx="59">
                  <c:v>15.11.21</c:v>
                </c:pt>
                <c:pt idx="60">
                  <c:v>16.11.21</c:v>
                </c:pt>
                <c:pt idx="61">
                  <c:v>17.11.21</c:v>
                </c:pt>
                <c:pt idx="62">
                  <c:v>18.11.21</c:v>
                </c:pt>
                <c:pt idx="63">
                  <c:v>19.11.21</c:v>
                </c:pt>
                <c:pt idx="64">
                  <c:v>20.11.21</c:v>
                </c:pt>
                <c:pt idx="65">
                  <c:v>21.11.21</c:v>
                </c:pt>
                <c:pt idx="66">
                  <c:v>22.11.21</c:v>
                </c:pt>
                <c:pt idx="67">
                  <c:v>23.11.21</c:v>
                </c:pt>
                <c:pt idx="68">
                  <c:v>24.11.21</c:v>
                </c:pt>
                <c:pt idx="69">
                  <c:v>25.11.21</c:v>
                </c:pt>
                <c:pt idx="70">
                  <c:v>26.11.21</c:v>
                </c:pt>
                <c:pt idx="71">
                  <c:v>27.11.21</c:v>
                </c:pt>
                <c:pt idx="72">
                  <c:v>28.11.21</c:v>
                </c:pt>
                <c:pt idx="73">
                  <c:v>29.11.21</c:v>
                </c:pt>
                <c:pt idx="74">
                  <c:v>30.11.21</c:v>
                </c:pt>
                <c:pt idx="75">
                  <c:v>01.12.21</c:v>
                </c:pt>
                <c:pt idx="76">
                  <c:v>02.12.21</c:v>
                </c:pt>
                <c:pt idx="77">
                  <c:v>03.12.21</c:v>
                </c:pt>
                <c:pt idx="78">
                  <c:v>04.12.21</c:v>
                </c:pt>
                <c:pt idx="79">
                  <c:v>05.12.21</c:v>
                </c:pt>
                <c:pt idx="80">
                  <c:v>06.12.21</c:v>
                </c:pt>
                <c:pt idx="81">
                  <c:v>07.12.21</c:v>
                </c:pt>
                <c:pt idx="82">
                  <c:v>08.12.21</c:v>
                </c:pt>
                <c:pt idx="83">
                  <c:v>09.12.21</c:v>
                </c:pt>
                <c:pt idx="84">
                  <c:v>10.12.21</c:v>
                </c:pt>
                <c:pt idx="85">
                  <c:v>11.12.21</c:v>
                </c:pt>
                <c:pt idx="86">
                  <c:v>12.12.21</c:v>
                </c:pt>
                <c:pt idx="87">
                  <c:v>13.12.21</c:v>
                </c:pt>
                <c:pt idx="88">
                  <c:v>14.12.21</c:v>
                </c:pt>
                <c:pt idx="89">
                  <c:v>15.12.21</c:v>
                </c:pt>
                <c:pt idx="90">
                  <c:v>16.12.21</c:v>
                </c:pt>
                <c:pt idx="91">
                  <c:v>17.12.21</c:v>
                </c:pt>
                <c:pt idx="92">
                  <c:v>18.12.21</c:v>
                </c:pt>
                <c:pt idx="93">
                  <c:v>19.12.21</c:v>
                </c:pt>
                <c:pt idx="94">
                  <c:v>20.12.21</c:v>
                </c:pt>
                <c:pt idx="95">
                  <c:v>21.12.21</c:v>
                </c:pt>
                <c:pt idx="96">
                  <c:v>22.12.21</c:v>
                </c:pt>
                <c:pt idx="97">
                  <c:v>23.12.21</c:v>
                </c:pt>
                <c:pt idx="98">
                  <c:v>24.12.21</c:v>
                </c:pt>
                <c:pt idx="99">
                  <c:v>25.12.21</c:v>
                </c:pt>
                <c:pt idx="100">
                  <c:v>26.12.21</c:v>
                </c:pt>
                <c:pt idx="101">
                  <c:v>27.12.21</c:v>
                </c:pt>
                <c:pt idx="102">
                  <c:v>28.12.21</c:v>
                </c:pt>
                <c:pt idx="103">
                  <c:v>29.12.21</c:v>
                </c:pt>
                <c:pt idx="104">
                  <c:v>30.12.21</c:v>
                </c:pt>
                <c:pt idx="105">
                  <c:v>31.12.21</c:v>
                </c:pt>
                <c:pt idx="106">
                  <c:v>01.01.22</c:v>
                </c:pt>
                <c:pt idx="107">
                  <c:v>02.01.22</c:v>
                </c:pt>
                <c:pt idx="108">
                  <c:v>03.01.22</c:v>
                </c:pt>
                <c:pt idx="109">
                  <c:v>04.01.22</c:v>
                </c:pt>
                <c:pt idx="110">
                  <c:v>05.01.22</c:v>
                </c:pt>
                <c:pt idx="111">
                  <c:v>06.01.22</c:v>
                </c:pt>
                <c:pt idx="112">
                  <c:v>07.01.22</c:v>
                </c:pt>
                <c:pt idx="113">
                  <c:v>08.01.22</c:v>
                </c:pt>
                <c:pt idx="114">
                  <c:v>09.01.22</c:v>
                </c:pt>
                <c:pt idx="115">
                  <c:v>10.01.22</c:v>
                </c:pt>
                <c:pt idx="116">
                  <c:v>11.01.22</c:v>
                </c:pt>
                <c:pt idx="117">
                  <c:v>12.01.22</c:v>
                </c:pt>
                <c:pt idx="118">
                  <c:v>13.01.22</c:v>
                </c:pt>
                <c:pt idx="119">
                  <c:v>14.01.22</c:v>
                </c:pt>
                <c:pt idx="120">
                  <c:v>15.01.22</c:v>
                </c:pt>
                <c:pt idx="121">
                  <c:v>16.01.22</c:v>
                </c:pt>
                <c:pt idx="122">
                  <c:v>17.01.22</c:v>
                </c:pt>
                <c:pt idx="123">
                  <c:v>18.01.22</c:v>
                </c:pt>
                <c:pt idx="124">
                  <c:v>19.01.22</c:v>
                </c:pt>
                <c:pt idx="125">
                  <c:v>20.01.22</c:v>
                </c:pt>
                <c:pt idx="126">
                  <c:v>21.01.22</c:v>
                </c:pt>
                <c:pt idx="127">
                  <c:v>22.01.22</c:v>
                </c:pt>
                <c:pt idx="128">
                  <c:v>23.01.22</c:v>
                </c:pt>
                <c:pt idx="129">
                  <c:v>24.01.22</c:v>
                </c:pt>
                <c:pt idx="130">
                  <c:v>25.01.22</c:v>
                </c:pt>
                <c:pt idx="131">
                  <c:v>26.01.22</c:v>
                </c:pt>
                <c:pt idx="132">
                  <c:v>27.01.22</c:v>
                </c:pt>
                <c:pt idx="133">
                  <c:v>28.01.22</c:v>
                </c:pt>
                <c:pt idx="134">
                  <c:v>29.01.22</c:v>
                </c:pt>
                <c:pt idx="135">
                  <c:v>30.01.22</c:v>
                </c:pt>
                <c:pt idx="136">
                  <c:v>31.01.22</c:v>
                </c:pt>
                <c:pt idx="137">
                  <c:v>01.02.22</c:v>
                </c:pt>
                <c:pt idx="138">
                  <c:v>02.02.22</c:v>
                </c:pt>
                <c:pt idx="139">
                  <c:v>03.02.22</c:v>
                </c:pt>
                <c:pt idx="140">
                  <c:v>04.02.22</c:v>
                </c:pt>
                <c:pt idx="141">
                  <c:v>05.02.22</c:v>
                </c:pt>
                <c:pt idx="142">
                  <c:v>06.02.22</c:v>
                </c:pt>
                <c:pt idx="143">
                  <c:v>07.02.22</c:v>
                </c:pt>
                <c:pt idx="144">
                  <c:v>08.02.22</c:v>
                </c:pt>
                <c:pt idx="145">
                  <c:v>09.02.22</c:v>
                </c:pt>
                <c:pt idx="146">
                  <c:v>10.02.22</c:v>
                </c:pt>
                <c:pt idx="147">
                  <c:v>11.02.22</c:v>
                </c:pt>
                <c:pt idx="148">
                  <c:v>12.02.22</c:v>
                </c:pt>
                <c:pt idx="149">
                  <c:v>13.02.22</c:v>
                </c:pt>
                <c:pt idx="150">
                  <c:v>14.02.22</c:v>
                </c:pt>
                <c:pt idx="151">
                  <c:v>15.02.22</c:v>
                </c:pt>
                <c:pt idx="152">
                  <c:v>16.02.22</c:v>
                </c:pt>
                <c:pt idx="153">
                  <c:v>17.02.22</c:v>
                </c:pt>
                <c:pt idx="154">
                  <c:v>18.02.22</c:v>
                </c:pt>
                <c:pt idx="155">
                  <c:v>19.02.22</c:v>
                </c:pt>
                <c:pt idx="156">
                  <c:v>20.02.22</c:v>
                </c:pt>
                <c:pt idx="157">
                  <c:v>21.02.22</c:v>
                </c:pt>
                <c:pt idx="158">
                  <c:v>22.02.22</c:v>
                </c:pt>
                <c:pt idx="159">
                  <c:v>23.02.22</c:v>
                </c:pt>
                <c:pt idx="160">
                  <c:v>24.02.22</c:v>
                </c:pt>
                <c:pt idx="161">
                  <c:v>25.02.22</c:v>
                </c:pt>
                <c:pt idx="162">
                  <c:v>26.02.22</c:v>
                </c:pt>
                <c:pt idx="163">
                  <c:v>27.02.22</c:v>
                </c:pt>
                <c:pt idx="164">
                  <c:v>28.02.22</c:v>
                </c:pt>
                <c:pt idx="165">
                  <c:v>01.03.22</c:v>
                </c:pt>
                <c:pt idx="166">
                  <c:v>02.03.22</c:v>
                </c:pt>
                <c:pt idx="167">
                  <c:v>03.03.22</c:v>
                </c:pt>
                <c:pt idx="168">
                  <c:v>04.03.22</c:v>
                </c:pt>
                <c:pt idx="169">
                  <c:v>05.03.22</c:v>
                </c:pt>
                <c:pt idx="170">
                  <c:v>06.03.22</c:v>
                </c:pt>
                <c:pt idx="171">
                  <c:v>07.03.22</c:v>
                </c:pt>
                <c:pt idx="172">
                  <c:v>08.03.22</c:v>
                </c:pt>
                <c:pt idx="173">
                  <c:v>09.03.22</c:v>
                </c:pt>
                <c:pt idx="174">
                  <c:v>10.03.22</c:v>
                </c:pt>
                <c:pt idx="175">
                  <c:v>11.03.22</c:v>
                </c:pt>
                <c:pt idx="176">
                  <c:v>12.03.22</c:v>
                </c:pt>
                <c:pt idx="177">
                  <c:v>13.03.22</c:v>
                </c:pt>
                <c:pt idx="178">
                  <c:v>14.03.22</c:v>
                </c:pt>
                <c:pt idx="179">
                  <c:v>15.03.22</c:v>
                </c:pt>
                <c:pt idx="180">
                  <c:v>16.03.22</c:v>
                </c:pt>
                <c:pt idx="181">
                  <c:v>17.03.22</c:v>
                </c:pt>
                <c:pt idx="182">
                  <c:v>18.03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4</c:v>
                </c:pt>
                <c:pt idx="1">
                  <c:v>2</c:v>
                </c:pt>
                <c:pt idx="2">
                  <c:v>5</c:v>
                </c:pt>
                <c:pt idx="3">
                  <c:v>8</c:v>
                </c:pt>
                <c:pt idx="4">
                  <c:v>9</c:v>
                </c:pt>
                <c:pt idx="5">
                  <c:v>8</c:v>
                </c:pt>
                <c:pt idx="6">
                  <c:v>5</c:v>
                </c:pt>
                <c:pt idx="7">
                  <c:v>4</c:v>
                </c:pt>
                <c:pt idx="8">
                  <c:v>4</c:v>
                </c:pt>
                <c:pt idx="9">
                  <c:v>2</c:v>
                </c:pt>
                <c:pt idx="10">
                  <c:v>7</c:v>
                </c:pt>
                <c:pt idx="11">
                  <c:v>6</c:v>
                </c:pt>
                <c:pt idx="12">
                  <c:v>8</c:v>
                </c:pt>
                <c:pt idx="13">
                  <c:v>12</c:v>
                </c:pt>
                <c:pt idx="14">
                  <c:v>8</c:v>
                </c:pt>
                <c:pt idx="15">
                  <c:v>4</c:v>
                </c:pt>
                <c:pt idx="16">
                  <c:v>6</c:v>
                </c:pt>
                <c:pt idx="17">
                  <c:v>9</c:v>
                </c:pt>
                <c:pt idx="18">
                  <c:v>12</c:v>
                </c:pt>
                <c:pt idx="19">
                  <c:v>13</c:v>
                </c:pt>
                <c:pt idx="20">
                  <c:v>14</c:v>
                </c:pt>
                <c:pt idx="21">
                  <c:v>9</c:v>
                </c:pt>
                <c:pt idx="22">
                  <c:v>7</c:v>
                </c:pt>
                <c:pt idx="23">
                  <c:v>5</c:v>
                </c:pt>
                <c:pt idx="24">
                  <c:v>19</c:v>
                </c:pt>
                <c:pt idx="25">
                  <c:v>31</c:v>
                </c:pt>
                <c:pt idx="26">
                  <c:v>19</c:v>
                </c:pt>
                <c:pt idx="27">
                  <c:v>16</c:v>
                </c:pt>
                <c:pt idx="28">
                  <c:v>14</c:v>
                </c:pt>
                <c:pt idx="29">
                  <c:v>9</c:v>
                </c:pt>
                <c:pt idx="30">
                  <c:v>12</c:v>
                </c:pt>
                <c:pt idx="31">
                  <c:v>38</c:v>
                </c:pt>
                <c:pt idx="32">
                  <c:v>54</c:v>
                </c:pt>
                <c:pt idx="33">
                  <c:v>46</c:v>
                </c:pt>
                <c:pt idx="34">
                  <c:v>53</c:v>
                </c:pt>
                <c:pt idx="35">
                  <c:v>42</c:v>
                </c:pt>
                <c:pt idx="36">
                  <c:v>27</c:v>
                </c:pt>
                <c:pt idx="37">
                  <c:v>20</c:v>
                </c:pt>
                <c:pt idx="38">
                  <c:v>76</c:v>
                </c:pt>
                <c:pt idx="39">
                  <c:v>82</c:v>
                </c:pt>
                <c:pt idx="40">
                  <c:v>63</c:v>
                </c:pt>
                <c:pt idx="41">
                  <c:v>40</c:v>
                </c:pt>
                <c:pt idx="42">
                  <c:v>78</c:v>
                </c:pt>
                <c:pt idx="43">
                  <c:v>52</c:v>
                </c:pt>
                <c:pt idx="44">
                  <c:v>40</c:v>
                </c:pt>
                <c:pt idx="45">
                  <c:v>129</c:v>
                </c:pt>
                <c:pt idx="46">
                  <c:v>129</c:v>
                </c:pt>
                <c:pt idx="47">
                  <c:v>103</c:v>
                </c:pt>
                <c:pt idx="48">
                  <c:v>105</c:v>
                </c:pt>
                <c:pt idx="49">
                  <c:v>127</c:v>
                </c:pt>
                <c:pt idx="50">
                  <c:v>53</c:v>
                </c:pt>
                <c:pt idx="51">
                  <c:v>38</c:v>
                </c:pt>
                <c:pt idx="52">
                  <c:v>127</c:v>
                </c:pt>
                <c:pt idx="53">
                  <c:v>134</c:v>
                </c:pt>
                <c:pt idx="54">
                  <c:v>144</c:v>
                </c:pt>
                <c:pt idx="55">
                  <c:v>113</c:v>
                </c:pt>
                <c:pt idx="56">
                  <c:v>160</c:v>
                </c:pt>
                <c:pt idx="57">
                  <c:v>90</c:v>
                </c:pt>
                <c:pt idx="58">
                  <c:v>49</c:v>
                </c:pt>
                <c:pt idx="59">
                  <c:v>156</c:v>
                </c:pt>
                <c:pt idx="60">
                  <c:v>190</c:v>
                </c:pt>
                <c:pt idx="61">
                  <c:v>139</c:v>
                </c:pt>
                <c:pt idx="62">
                  <c:v>156</c:v>
                </c:pt>
                <c:pt idx="63">
                  <c:v>243</c:v>
                </c:pt>
                <c:pt idx="64">
                  <c:v>117</c:v>
                </c:pt>
                <c:pt idx="65">
                  <c:v>86</c:v>
                </c:pt>
                <c:pt idx="66">
                  <c:v>196</c:v>
                </c:pt>
                <c:pt idx="67">
                  <c:v>206</c:v>
                </c:pt>
                <c:pt idx="68">
                  <c:v>171</c:v>
                </c:pt>
                <c:pt idx="69">
                  <c:v>247</c:v>
                </c:pt>
                <c:pt idx="70">
                  <c:v>141</c:v>
                </c:pt>
                <c:pt idx="71">
                  <c:v>108</c:v>
                </c:pt>
                <c:pt idx="72">
                  <c:v>83</c:v>
                </c:pt>
                <c:pt idx="73">
                  <c:v>197</c:v>
                </c:pt>
                <c:pt idx="74">
                  <c:v>184</c:v>
                </c:pt>
                <c:pt idx="75">
                  <c:v>158</c:v>
                </c:pt>
                <c:pt idx="76">
                  <c:v>126</c:v>
                </c:pt>
                <c:pt idx="77">
                  <c:v>152</c:v>
                </c:pt>
                <c:pt idx="78">
                  <c:v>94</c:v>
                </c:pt>
                <c:pt idx="79">
                  <c:v>63</c:v>
                </c:pt>
                <c:pt idx="80">
                  <c:v>185</c:v>
                </c:pt>
                <c:pt idx="81">
                  <c:v>156</c:v>
                </c:pt>
                <c:pt idx="82">
                  <c:v>127</c:v>
                </c:pt>
                <c:pt idx="83">
                  <c:v>108</c:v>
                </c:pt>
                <c:pt idx="84">
                  <c:v>89</c:v>
                </c:pt>
                <c:pt idx="85">
                  <c:v>75</c:v>
                </c:pt>
                <c:pt idx="86">
                  <c:v>60</c:v>
                </c:pt>
                <c:pt idx="87">
                  <c:v>115</c:v>
                </c:pt>
                <c:pt idx="88">
                  <c:v>166</c:v>
                </c:pt>
                <c:pt idx="89">
                  <c:v>88</c:v>
                </c:pt>
                <c:pt idx="90">
                  <c:v>87</c:v>
                </c:pt>
                <c:pt idx="91">
                  <c:v>91</c:v>
                </c:pt>
                <c:pt idx="92">
                  <c:v>57</c:v>
                </c:pt>
                <c:pt idx="93">
                  <c:v>41</c:v>
                </c:pt>
                <c:pt idx="94">
                  <c:v>99</c:v>
                </c:pt>
                <c:pt idx="95">
                  <c:v>92</c:v>
                </c:pt>
                <c:pt idx="96">
                  <c:v>44</c:v>
                </c:pt>
                <c:pt idx="97">
                  <c:v>68</c:v>
                </c:pt>
                <c:pt idx="98">
                  <c:v>20</c:v>
                </c:pt>
                <c:pt idx="99">
                  <c:v>12</c:v>
                </c:pt>
                <c:pt idx="100">
                  <c:v>21</c:v>
                </c:pt>
                <c:pt idx="101">
                  <c:v>67</c:v>
                </c:pt>
                <c:pt idx="102">
                  <c:v>90</c:v>
                </c:pt>
                <c:pt idx="103">
                  <c:v>59</c:v>
                </c:pt>
                <c:pt idx="104">
                  <c:v>57</c:v>
                </c:pt>
                <c:pt idx="105">
                  <c:v>73</c:v>
                </c:pt>
                <c:pt idx="106">
                  <c:v>12</c:v>
                </c:pt>
                <c:pt idx="107">
                  <c:v>22</c:v>
                </c:pt>
                <c:pt idx="108">
                  <c:v>91</c:v>
                </c:pt>
                <c:pt idx="109">
                  <c:v>86</c:v>
                </c:pt>
                <c:pt idx="110">
                  <c:v>69</c:v>
                </c:pt>
                <c:pt idx="111">
                  <c:v>66</c:v>
                </c:pt>
                <c:pt idx="112">
                  <c:v>64</c:v>
                </c:pt>
                <c:pt idx="113">
                  <c:v>30</c:v>
                </c:pt>
                <c:pt idx="114">
                  <c:v>27</c:v>
                </c:pt>
                <c:pt idx="115">
                  <c:v>77</c:v>
                </c:pt>
                <c:pt idx="116">
                  <c:v>106</c:v>
                </c:pt>
                <c:pt idx="117">
                  <c:v>88</c:v>
                </c:pt>
                <c:pt idx="118">
                  <c:v>74</c:v>
                </c:pt>
                <c:pt idx="119">
                  <c:v>94</c:v>
                </c:pt>
                <c:pt idx="120">
                  <c:v>57</c:v>
                </c:pt>
                <c:pt idx="121">
                  <c:v>54</c:v>
                </c:pt>
                <c:pt idx="122">
                  <c:v>178</c:v>
                </c:pt>
                <c:pt idx="123">
                  <c:v>190</c:v>
                </c:pt>
                <c:pt idx="124">
                  <c:v>220</c:v>
                </c:pt>
                <c:pt idx="125">
                  <c:v>215</c:v>
                </c:pt>
                <c:pt idx="126">
                  <c:v>204</c:v>
                </c:pt>
                <c:pt idx="127">
                  <c:v>141</c:v>
                </c:pt>
                <c:pt idx="128">
                  <c:v>109</c:v>
                </c:pt>
                <c:pt idx="129">
                  <c:v>282</c:v>
                </c:pt>
                <c:pt idx="130">
                  <c:v>313</c:v>
                </c:pt>
                <c:pt idx="131">
                  <c:v>399</c:v>
                </c:pt>
                <c:pt idx="132">
                  <c:v>305</c:v>
                </c:pt>
                <c:pt idx="133">
                  <c:v>406</c:v>
                </c:pt>
                <c:pt idx="134">
                  <c:v>148</c:v>
                </c:pt>
                <c:pt idx="135">
                  <c:v>170</c:v>
                </c:pt>
                <c:pt idx="136">
                  <c:v>361</c:v>
                </c:pt>
                <c:pt idx="137">
                  <c:v>479</c:v>
                </c:pt>
                <c:pt idx="138">
                  <c:v>352</c:v>
                </c:pt>
                <c:pt idx="139">
                  <c:v>349</c:v>
                </c:pt>
                <c:pt idx="140">
                  <c:v>289</c:v>
                </c:pt>
                <c:pt idx="141">
                  <c:v>181</c:v>
                </c:pt>
                <c:pt idx="142">
                  <c:v>107</c:v>
                </c:pt>
                <c:pt idx="143">
                  <c:v>416</c:v>
                </c:pt>
                <c:pt idx="144">
                  <c:v>355</c:v>
                </c:pt>
                <c:pt idx="145">
                  <c:v>302</c:v>
                </c:pt>
                <c:pt idx="146">
                  <c:v>252</c:v>
                </c:pt>
                <c:pt idx="147">
                  <c:v>216</c:v>
                </c:pt>
                <c:pt idx="148">
                  <c:v>122</c:v>
                </c:pt>
                <c:pt idx="149">
                  <c:v>88</c:v>
                </c:pt>
                <c:pt idx="150">
                  <c:v>233</c:v>
                </c:pt>
                <c:pt idx="151">
                  <c:v>256</c:v>
                </c:pt>
                <c:pt idx="152">
                  <c:v>169</c:v>
                </c:pt>
                <c:pt idx="153">
                  <c:v>151</c:v>
                </c:pt>
                <c:pt idx="154">
                  <c:v>141</c:v>
                </c:pt>
                <c:pt idx="155">
                  <c:v>78</c:v>
                </c:pt>
                <c:pt idx="156">
                  <c:v>51</c:v>
                </c:pt>
                <c:pt idx="157">
                  <c:v>187</c:v>
                </c:pt>
                <c:pt idx="158">
                  <c:v>143</c:v>
                </c:pt>
                <c:pt idx="159">
                  <c:v>109</c:v>
                </c:pt>
                <c:pt idx="160">
                  <c:v>122</c:v>
                </c:pt>
                <c:pt idx="161">
                  <c:v>96</c:v>
                </c:pt>
                <c:pt idx="162">
                  <c:v>56</c:v>
                </c:pt>
                <c:pt idx="163">
                  <c:v>41</c:v>
                </c:pt>
                <c:pt idx="164">
                  <c:v>151</c:v>
                </c:pt>
                <c:pt idx="165">
                  <c:v>132</c:v>
                </c:pt>
                <c:pt idx="166">
                  <c:v>102</c:v>
                </c:pt>
                <c:pt idx="167">
                  <c:v>95</c:v>
                </c:pt>
                <c:pt idx="168">
                  <c:v>76</c:v>
                </c:pt>
                <c:pt idx="169">
                  <c:v>53</c:v>
                </c:pt>
                <c:pt idx="170">
                  <c:v>32</c:v>
                </c:pt>
                <c:pt idx="171">
                  <c:v>151</c:v>
                </c:pt>
                <c:pt idx="172">
                  <c:v>124</c:v>
                </c:pt>
                <c:pt idx="173">
                  <c:v>122</c:v>
                </c:pt>
                <c:pt idx="174">
                  <c:v>91</c:v>
                </c:pt>
                <c:pt idx="175">
                  <c:v>84</c:v>
                </c:pt>
                <c:pt idx="176">
                  <c:v>45</c:v>
                </c:pt>
                <c:pt idx="177">
                  <c:v>35</c:v>
                </c:pt>
                <c:pt idx="178">
                  <c:v>156</c:v>
                </c:pt>
                <c:pt idx="179">
                  <c:v>121</c:v>
                </c:pt>
                <c:pt idx="180">
                  <c:v>102</c:v>
                </c:pt>
                <c:pt idx="181">
                  <c:v>94</c:v>
                </c:pt>
                <c:pt idx="182">
                  <c:v>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5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8987323987963556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17.09.21</c:v>
                </c:pt>
                <c:pt idx="1">
                  <c:v>18.09.21</c:v>
                </c:pt>
                <c:pt idx="2">
                  <c:v>19.09.21</c:v>
                </c:pt>
                <c:pt idx="3">
                  <c:v>20.09.21</c:v>
                </c:pt>
                <c:pt idx="4">
                  <c:v>21.09.21</c:v>
                </c:pt>
                <c:pt idx="5">
                  <c:v>22.09.21</c:v>
                </c:pt>
                <c:pt idx="6">
                  <c:v>23.09.21</c:v>
                </c:pt>
                <c:pt idx="7">
                  <c:v>24.09.21</c:v>
                </c:pt>
                <c:pt idx="8">
                  <c:v>25.09.21</c:v>
                </c:pt>
                <c:pt idx="9">
                  <c:v>26.09.21</c:v>
                </c:pt>
                <c:pt idx="10">
                  <c:v>27.09.21</c:v>
                </c:pt>
                <c:pt idx="11">
                  <c:v>28.09.21</c:v>
                </c:pt>
                <c:pt idx="12">
                  <c:v>29.09.21</c:v>
                </c:pt>
                <c:pt idx="13">
                  <c:v>30.09.21</c:v>
                </c:pt>
                <c:pt idx="14">
                  <c:v>01.10.21</c:v>
                </c:pt>
                <c:pt idx="15">
                  <c:v>02.10.21</c:v>
                </c:pt>
                <c:pt idx="16">
                  <c:v>03.10.21</c:v>
                </c:pt>
                <c:pt idx="17">
                  <c:v>04.10.21</c:v>
                </c:pt>
                <c:pt idx="18">
                  <c:v>05.10.21</c:v>
                </c:pt>
                <c:pt idx="19">
                  <c:v>06.10.21</c:v>
                </c:pt>
                <c:pt idx="20">
                  <c:v>07.10.21</c:v>
                </c:pt>
                <c:pt idx="21">
                  <c:v>08.10.21</c:v>
                </c:pt>
                <c:pt idx="22">
                  <c:v>09.10.21</c:v>
                </c:pt>
                <c:pt idx="23">
                  <c:v>10.10.21</c:v>
                </c:pt>
                <c:pt idx="24">
                  <c:v>11.10.21</c:v>
                </c:pt>
                <c:pt idx="25">
                  <c:v>12.10.21</c:v>
                </c:pt>
                <c:pt idx="26">
                  <c:v>13.10.21</c:v>
                </c:pt>
                <c:pt idx="27">
                  <c:v>14.10.21</c:v>
                </c:pt>
                <c:pt idx="28">
                  <c:v>15.10.21</c:v>
                </c:pt>
                <c:pt idx="29">
                  <c:v>16.10.21</c:v>
                </c:pt>
                <c:pt idx="30">
                  <c:v>17.10.21</c:v>
                </c:pt>
                <c:pt idx="31">
                  <c:v>18.10.21</c:v>
                </c:pt>
                <c:pt idx="32">
                  <c:v>19.10.21</c:v>
                </c:pt>
                <c:pt idx="33">
                  <c:v>20.10.21</c:v>
                </c:pt>
                <c:pt idx="34">
                  <c:v>21.10.21</c:v>
                </c:pt>
                <c:pt idx="35">
                  <c:v>22.10.21</c:v>
                </c:pt>
                <c:pt idx="36">
                  <c:v>23.10.21</c:v>
                </c:pt>
                <c:pt idx="37">
                  <c:v>24.10.21</c:v>
                </c:pt>
                <c:pt idx="38">
                  <c:v>25.10.21</c:v>
                </c:pt>
                <c:pt idx="39">
                  <c:v>26.10.21</c:v>
                </c:pt>
                <c:pt idx="40">
                  <c:v>27.10.21</c:v>
                </c:pt>
                <c:pt idx="41">
                  <c:v>28.10.21</c:v>
                </c:pt>
                <c:pt idx="42">
                  <c:v>29.10.21</c:v>
                </c:pt>
                <c:pt idx="43">
                  <c:v>30.10.21</c:v>
                </c:pt>
                <c:pt idx="44">
                  <c:v>31.10.21</c:v>
                </c:pt>
                <c:pt idx="45">
                  <c:v>01.11.21</c:v>
                </c:pt>
                <c:pt idx="46">
                  <c:v>02.11.21</c:v>
                </c:pt>
                <c:pt idx="47">
                  <c:v>03.11.21</c:v>
                </c:pt>
                <c:pt idx="48">
                  <c:v>04.11.21</c:v>
                </c:pt>
                <c:pt idx="49">
                  <c:v>05.11.21</c:v>
                </c:pt>
                <c:pt idx="50">
                  <c:v>06.11.21</c:v>
                </c:pt>
                <c:pt idx="51">
                  <c:v>07.11.21</c:v>
                </c:pt>
                <c:pt idx="52">
                  <c:v>08.11.21</c:v>
                </c:pt>
                <c:pt idx="53">
                  <c:v>09.11.21</c:v>
                </c:pt>
                <c:pt idx="54">
                  <c:v>10.11.21</c:v>
                </c:pt>
                <c:pt idx="55">
                  <c:v>11.11.21</c:v>
                </c:pt>
                <c:pt idx="56">
                  <c:v>12.11.21</c:v>
                </c:pt>
                <c:pt idx="57">
                  <c:v>13.11.21</c:v>
                </c:pt>
                <c:pt idx="58">
                  <c:v>14.11.21</c:v>
                </c:pt>
                <c:pt idx="59">
                  <c:v>15.11.21</c:v>
                </c:pt>
                <c:pt idx="60">
                  <c:v>16.11.21</c:v>
                </c:pt>
                <c:pt idx="61">
                  <c:v>17.11.21</c:v>
                </c:pt>
                <c:pt idx="62">
                  <c:v>18.11.21</c:v>
                </c:pt>
                <c:pt idx="63">
                  <c:v>19.11.21</c:v>
                </c:pt>
                <c:pt idx="64">
                  <c:v>20.11.21</c:v>
                </c:pt>
                <c:pt idx="65">
                  <c:v>21.11.21</c:v>
                </c:pt>
                <c:pt idx="66">
                  <c:v>22.11.21</c:v>
                </c:pt>
                <c:pt idx="67">
                  <c:v>23.11.21</c:v>
                </c:pt>
                <c:pt idx="68">
                  <c:v>24.11.21</c:v>
                </c:pt>
                <c:pt idx="69">
                  <c:v>25.11.21</c:v>
                </c:pt>
                <c:pt idx="70">
                  <c:v>26.11.21</c:v>
                </c:pt>
                <c:pt idx="71">
                  <c:v>27.11.21</c:v>
                </c:pt>
                <c:pt idx="72">
                  <c:v>28.11.21</c:v>
                </c:pt>
                <c:pt idx="73">
                  <c:v>29.11.21</c:v>
                </c:pt>
                <c:pt idx="74">
                  <c:v>30.11.21</c:v>
                </c:pt>
                <c:pt idx="75">
                  <c:v>01.12.21</c:v>
                </c:pt>
                <c:pt idx="76">
                  <c:v>02.12.21</c:v>
                </c:pt>
                <c:pt idx="77">
                  <c:v>03.12.21</c:v>
                </c:pt>
                <c:pt idx="78">
                  <c:v>04.12.21</c:v>
                </c:pt>
                <c:pt idx="79">
                  <c:v>05.12.21</c:v>
                </c:pt>
                <c:pt idx="80">
                  <c:v>06.12.21</c:v>
                </c:pt>
                <c:pt idx="81">
                  <c:v>07.12.21</c:v>
                </c:pt>
                <c:pt idx="82">
                  <c:v>08.12.21</c:v>
                </c:pt>
                <c:pt idx="83">
                  <c:v>09.12.21</c:v>
                </c:pt>
                <c:pt idx="84">
                  <c:v>10.12.21</c:v>
                </c:pt>
                <c:pt idx="85">
                  <c:v>11.12.21</c:v>
                </c:pt>
                <c:pt idx="86">
                  <c:v>12.12.21</c:v>
                </c:pt>
                <c:pt idx="87">
                  <c:v>13.12.21</c:v>
                </c:pt>
                <c:pt idx="88">
                  <c:v>14.12.21</c:v>
                </c:pt>
                <c:pt idx="89">
                  <c:v>15.12.21</c:v>
                </c:pt>
                <c:pt idx="90">
                  <c:v>16.12.21</c:v>
                </c:pt>
                <c:pt idx="91">
                  <c:v>17.12.21</c:v>
                </c:pt>
                <c:pt idx="92">
                  <c:v>18.12.21</c:v>
                </c:pt>
                <c:pt idx="93">
                  <c:v>19.12.21</c:v>
                </c:pt>
                <c:pt idx="94">
                  <c:v>20.12.21</c:v>
                </c:pt>
                <c:pt idx="95">
                  <c:v>21.12.21</c:v>
                </c:pt>
                <c:pt idx="96">
                  <c:v>22.12.21</c:v>
                </c:pt>
                <c:pt idx="97">
                  <c:v>23.12.21</c:v>
                </c:pt>
                <c:pt idx="98">
                  <c:v>24.12.21</c:v>
                </c:pt>
                <c:pt idx="99">
                  <c:v>25.12.21</c:v>
                </c:pt>
                <c:pt idx="100">
                  <c:v>26.12.21</c:v>
                </c:pt>
                <c:pt idx="101">
                  <c:v>27.12.21</c:v>
                </c:pt>
                <c:pt idx="102">
                  <c:v>28.12.21</c:v>
                </c:pt>
                <c:pt idx="103">
                  <c:v>29.12.21</c:v>
                </c:pt>
                <c:pt idx="104">
                  <c:v>30.12.21</c:v>
                </c:pt>
                <c:pt idx="105">
                  <c:v>31.12.21</c:v>
                </c:pt>
                <c:pt idx="106">
                  <c:v>01.01.22</c:v>
                </c:pt>
                <c:pt idx="107">
                  <c:v>02.01.22</c:v>
                </c:pt>
                <c:pt idx="108">
                  <c:v>03.01.22</c:v>
                </c:pt>
                <c:pt idx="109">
                  <c:v>04.01.22</c:v>
                </c:pt>
                <c:pt idx="110">
                  <c:v>05.01.22</c:v>
                </c:pt>
                <c:pt idx="111">
                  <c:v>06.01.22</c:v>
                </c:pt>
                <c:pt idx="112">
                  <c:v>07.01.22</c:v>
                </c:pt>
                <c:pt idx="113">
                  <c:v>08.01.22</c:v>
                </c:pt>
                <c:pt idx="114">
                  <c:v>09.01.22</c:v>
                </c:pt>
                <c:pt idx="115">
                  <c:v>10.01.22</c:v>
                </c:pt>
                <c:pt idx="116">
                  <c:v>11.01.22</c:v>
                </c:pt>
                <c:pt idx="117">
                  <c:v>12.01.22</c:v>
                </c:pt>
                <c:pt idx="118">
                  <c:v>13.01.22</c:v>
                </c:pt>
                <c:pt idx="119">
                  <c:v>14.01.22</c:v>
                </c:pt>
                <c:pt idx="120">
                  <c:v>15.01.22</c:v>
                </c:pt>
                <c:pt idx="121">
                  <c:v>16.01.22</c:v>
                </c:pt>
                <c:pt idx="122">
                  <c:v>17.01.22</c:v>
                </c:pt>
                <c:pt idx="123">
                  <c:v>18.01.22</c:v>
                </c:pt>
                <c:pt idx="124">
                  <c:v>19.01.22</c:v>
                </c:pt>
                <c:pt idx="125">
                  <c:v>20.01.22</c:v>
                </c:pt>
                <c:pt idx="126">
                  <c:v>21.01.22</c:v>
                </c:pt>
                <c:pt idx="127">
                  <c:v>22.01.22</c:v>
                </c:pt>
                <c:pt idx="128">
                  <c:v>23.01.22</c:v>
                </c:pt>
                <c:pt idx="129">
                  <c:v>24.01.22</c:v>
                </c:pt>
                <c:pt idx="130">
                  <c:v>25.01.22</c:v>
                </c:pt>
                <c:pt idx="131">
                  <c:v>26.01.22</c:v>
                </c:pt>
                <c:pt idx="132">
                  <c:v>27.01.22</c:v>
                </c:pt>
                <c:pt idx="133">
                  <c:v>28.01.22</c:v>
                </c:pt>
                <c:pt idx="134">
                  <c:v>29.01.22</c:v>
                </c:pt>
                <c:pt idx="135">
                  <c:v>30.01.22</c:v>
                </c:pt>
                <c:pt idx="136">
                  <c:v>31.01.22</c:v>
                </c:pt>
                <c:pt idx="137">
                  <c:v>01.02.22</c:v>
                </c:pt>
                <c:pt idx="138">
                  <c:v>02.02.22</c:v>
                </c:pt>
                <c:pt idx="139">
                  <c:v>03.02.22</c:v>
                </c:pt>
                <c:pt idx="140">
                  <c:v>04.02.22</c:v>
                </c:pt>
                <c:pt idx="141">
                  <c:v>05.02.22</c:v>
                </c:pt>
                <c:pt idx="142">
                  <c:v>06.02.22</c:v>
                </c:pt>
                <c:pt idx="143">
                  <c:v>07.02.22</c:v>
                </c:pt>
                <c:pt idx="144">
                  <c:v>08.02.22</c:v>
                </c:pt>
                <c:pt idx="145">
                  <c:v>09.02.22</c:v>
                </c:pt>
                <c:pt idx="146">
                  <c:v>10.02.22</c:v>
                </c:pt>
                <c:pt idx="147">
                  <c:v>11.02.22</c:v>
                </c:pt>
                <c:pt idx="148">
                  <c:v>12.02.22</c:v>
                </c:pt>
                <c:pt idx="149">
                  <c:v>13.02.22</c:v>
                </c:pt>
                <c:pt idx="150">
                  <c:v>14.02.22</c:v>
                </c:pt>
                <c:pt idx="151">
                  <c:v>15.02.22</c:v>
                </c:pt>
                <c:pt idx="152">
                  <c:v>16.02.22</c:v>
                </c:pt>
                <c:pt idx="153">
                  <c:v>17.02.22</c:v>
                </c:pt>
                <c:pt idx="154">
                  <c:v>18.02.22</c:v>
                </c:pt>
                <c:pt idx="155">
                  <c:v>19.02.22</c:v>
                </c:pt>
                <c:pt idx="156">
                  <c:v>20.02.22</c:v>
                </c:pt>
                <c:pt idx="157">
                  <c:v>21.02.22</c:v>
                </c:pt>
                <c:pt idx="158">
                  <c:v>22.02.22</c:v>
                </c:pt>
                <c:pt idx="159">
                  <c:v>23.02.22</c:v>
                </c:pt>
                <c:pt idx="160">
                  <c:v>24.02.22</c:v>
                </c:pt>
                <c:pt idx="161">
                  <c:v>25.02.22</c:v>
                </c:pt>
                <c:pt idx="162">
                  <c:v>26.02.22</c:v>
                </c:pt>
                <c:pt idx="163">
                  <c:v>27.02.22</c:v>
                </c:pt>
                <c:pt idx="164">
                  <c:v>28.02.22</c:v>
                </c:pt>
                <c:pt idx="165">
                  <c:v>01.03.22</c:v>
                </c:pt>
                <c:pt idx="166">
                  <c:v>02.03.22</c:v>
                </c:pt>
                <c:pt idx="167">
                  <c:v>03.03.22</c:v>
                </c:pt>
                <c:pt idx="168">
                  <c:v>04.03.22</c:v>
                </c:pt>
                <c:pt idx="169">
                  <c:v>05.03.22</c:v>
                </c:pt>
                <c:pt idx="170">
                  <c:v>06.03.22</c:v>
                </c:pt>
                <c:pt idx="171">
                  <c:v>07.03.22</c:v>
                </c:pt>
                <c:pt idx="172">
                  <c:v>08.03.22</c:v>
                </c:pt>
                <c:pt idx="173">
                  <c:v>09.03.22</c:v>
                </c:pt>
                <c:pt idx="174">
                  <c:v>10.03.22</c:v>
                </c:pt>
                <c:pt idx="175">
                  <c:v>11.03.22</c:v>
                </c:pt>
                <c:pt idx="176">
                  <c:v>12.03.22</c:v>
                </c:pt>
                <c:pt idx="177">
                  <c:v>13.03.22</c:v>
                </c:pt>
                <c:pt idx="178">
                  <c:v>14.03.22</c:v>
                </c:pt>
                <c:pt idx="179">
                  <c:v>15.03.22</c:v>
                </c:pt>
                <c:pt idx="180">
                  <c:v>16.03.22</c:v>
                </c:pt>
                <c:pt idx="181">
                  <c:v>17.03.22</c:v>
                </c:pt>
                <c:pt idx="182">
                  <c:v>18.03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64</c:v>
                </c:pt>
                <c:pt idx="1">
                  <c:v>63</c:v>
                </c:pt>
                <c:pt idx="2">
                  <c:v>63</c:v>
                </c:pt>
                <c:pt idx="3">
                  <c:v>61</c:v>
                </c:pt>
                <c:pt idx="4">
                  <c:v>64</c:v>
                </c:pt>
                <c:pt idx="5">
                  <c:v>67</c:v>
                </c:pt>
                <c:pt idx="6">
                  <c:v>67</c:v>
                </c:pt>
                <c:pt idx="7">
                  <c:v>68</c:v>
                </c:pt>
                <c:pt idx="8">
                  <c:v>66</c:v>
                </c:pt>
                <c:pt idx="9">
                  <c:v>66</c:v>
                </c:pt>
                <c:pt idx="10">
                  <c:v>68</c:v>
                </c:pt>
                <c:pt idx="11">
                  <c:v>72</c:v>
                </c:pt>
                <c:pt idx="12">
                  <c:v>75</c:v>
                </c:pt>
                <c:pt idx="13">
                  <c:v>83</c:v>
                </c:pt>
                <c:pt idx="14">
                  <c:v>84</c:v>
                </c:pt>
                <c:pt idx="15">
                  <c:v>88</c:v>
                </c:pt>
                <c:pt idx="16">
                  <c:v>88</c:v>
                </c:pt>
                <c:pt idx="17">
                  <c:v>87</c:v>
                </c:pt>
                <c:pt idx="18">
                  <c:v>86</c:v>
                </c:pt>
                <c:pt idx="19">
                  <c:v>87</c:v>
                </c:pt>
                <c:pt idx="20">
                  <c:v>92</c:v>
                </c:pt>
                <c:pt idx="21">
                  <c:v>95</c:v>
                </c:pt>
                <c:pt idx="22">
                  <c:v>96</c:v>
                </c:pt>
                <c:pt idx="23">
                  <c:v>95</c:v>
                </c:pt>
                <c:pt idx="24">
                  <c:v>89</c:v>
                </c:pt>
                <c:pt idx="25">
                  <c:v>98</c:v>
                </c:pt>
                <c:pt idx="26">
                  <c:v>95</c:v>
                </c:pt>
                <c:pt idx="27">
                  <c:v>98</c:v>
                </c:pt>
                <c:pt idx="28">
                  <c:v>101</c:v>
                </c:pt>
                <c:pt idx="29">
                  <c:v>104</c:v>
                </c:pt>
                <c:pt idx="30">
                  <c:v>110</c:v>
                </c:pt>
                <c:pt idx="31">
                  <c:v>127</c:v>
                </c:pt>
                <c:pt idx="32">
                  <c:v>140</c:v>
                </c:pt>
                <c:pt idx="33">
                  <c:v>148</c:v>
                </c:pt>
                <c:pt idx="34">
                  <c:v>155</c:v>
                </c:pt>
                <c:pt idx="35">
                  <c:v>166</c:v>
                </c:pt>
                <c:pt idx="36">
                  <c:v>179</c:v>
                </c:pt>
                <c:pt idx="37">
                  <c:v>189</c:v>
                </c:pt>
                <c:pt idx="38">
                  <c:v>214</c:v>
                </c:pt>
                <c:pt idx="39">
                  <c:v>221</c:v>
                </c:pt>
                <c:pt idx="40">
                  <c:v>242</c:v>
                </c:pt>
                <c:pt idx="41">
                  <c:v>256</c:v>
                </c:pt>
                <c:pt idx="42">
                  <c:v>286</c:v>
                </c:pt>
                <c:pt idx="43">
                  <c:v>302</c:v>
                </c:pt>
                <c:pt idx="44">
                  <c:v>308</c:v>
                </c:pt>
                <c:pt idx="45">
                  <c:v>347</c:v>
                </c:pt>
                <c:pt idx="46">
                  <c:v>368</c:v>
                </c:pt>
                <c:pt idx="47">
                  <c:v>391</c:v>
                </c:pt>
                <c:pt idx="48">
                  <c:v>405</c:v>
                </c:pt>
                <c:pt idx="49">
                  <c:v>423</c:v>
                </c:pt>
                <c:pt idx="50">
                  <c:v>431</c:v>
                </c:pt>
                <c:pt idx="51">
                  <c:v>439</c:v>
                </c:pt>
                <c:pt idx="52">
                  <c:v>460</c:v>
                </c:pt>
                <c:pt idx="53">
                  <c:v>491</c:v>
                </c:pt>
                <c:pt idx="54">
                  <c:v>505</c:v>
                </c:pt>
                <c:pt idx="55">
                  <c:v>537</c:v>
                </c:pt>
                <c:pt idx="56">
                  <c:v>535</c:v>
                </c:pt>
                <c:pt idx="57">
                  <c:v>569</c:v>
                </c:pt>
                <c:pt idx="58">
                  <c:v>574</c:v>
                </c:pt>
                <c:pt idx="59">
                  <c:v>574</c:v>
                </c:pt>
                <c:pt idx="60">
                  <c:v>599</c:v>
                </c:pt>
                <c:pt idx="61">
                  <c:v>604</c:v>
                </c:pt>
                <c:pt idx="62">
                  <c:v>628</c:v>
                </c:pt>
                <c:pt idx="63">
                  <c:v>669</c:v>
                </c:pt>
                <c:pt idx="64">
                  <c:v>698</c:v>
                </c:pt>
                <c:pt idx="65">
                  <c:v>703</c:v>
                </c:pt>
                <c:pt idx="66">
                  <c:v>700</c:v>
                </c:pt>
                <c:pt idx="67">
                  <c:v>736</c:v>
                </c:pt>
                <c:pt idx="68">
                  <c:v>724</c:v>
                </c:pt>
                <c:pt idx="69">
                  <c:v>742</c:v>
                </c:pt>
                <c:pt idx="70">
                  <c:v>731</c:v>
                </c:pt>
                <c:pt idx="71">
                  <c:v>738</c:v>
                </c:pt>
                <c:pt idx="72">
                  <c:v>751</c:v>
                </c:pt>
                <c:pt idx="73">
                  <c:v>741</c:v>
                </c:pt>
                <c:pt idx="74">
                  <c:v>735</c:v>
                </c:pt>
                <c:pt idx="75">
                  <c:v>752</c:v>
                </c:pt>
                <c:pt idx="76">
                  <c:v>725</c:v>
                </c:pt>
                <c:pt idx="77">
                  <c:v>697</c:v>
                </c:pt>
                <c:pt idx="78">
                  <c:v>690</c:v>
                </c:pt>
                <c:pt idx="79">
                  <c:v>672</c:v>
                </c:pt>
                <c:pt idx="80">
                  <c:v>631</c:v>
                </c:pt>
                <c:pt idx="81">
                  <c:v>612</c:v>
                </c:pt>
                <c:pt idx="82">
                  <c:v>600</c:v>
                </c:pt>
                <c:pt idx="83">
                  <c:v>573</c:v>
                </c:pt>
                <c:pt idx="84">
                  <c:v>553</c:v>
                </c:pt>
                <c:pt idx="85">
                  <c:v>542</c:v>
                </c:pt>
                <c:pt idx="86">
                  <c:v>522</c:v>
                </c:pt>
                <c:pt idx="87">
                  <c:v>490</c:v>
                </c:pt>
                <c:pt idx="88">
                  <c:v>468</c:v>
                </c:pt>
                <c:pt idx="89">
                  <c:v>445</c:v>
                </c:pt>
                <c:pt idx="90">
                  <c:v>418</c:v>
                </c:pt>
                <c:pt idx="91">
                  <c:v>394</c:v>
                </c:pt>
                <c:pt idx="92">
                  <c:v>391</c:v>
                </c:pt>
                <c:pt idx="93">
                  <c:v>389</c:v>
                </c:pt>
                <c:pt idx="94">
                  <c:v>364</c:v>
                </c:pt>
                <c:pt idx="95">
                  <c:v>363</c:v>
                </c:pt>
                <c:pt idx="96">
                  <c:v>348</c:v>
                </c:pt>
                <c:pt idx="97">
                  <c:v>339</c:v>
                </c:pt>
                <c:pt idx="98">
                  <c:v>312</c:v>
                </c:pt>
                <c:pt idx="99">
                  <c:v>309</c:v>
                </c:pt>
                <c:pt idx="100">
                  <c:v>305</c:v>
                </c:pt>
                <c:pt idx="101">
                  <c:v>296</c:v>
                </c:pt>
                <c:pt idx="102">
                  <c:v>303</c:v>
                </c:pt>
                <c:pt idx="103">
                  <c:v>306</c:v>
                </c:pt>
                <c:pt idx="104">
                  <c:v>307</c:v>
                </c:pt>
                <c:pt idx="105">
                  <c:v>303</c:v>
                </c:pt>
                <c:pt idx="106">
                  <c:v>293</c:v>
                </c:pt>
                <c:pt idx="107">
                  <c:v>301</c:v>
                </c:pt>
                <c:pt idx="108">
                  <c:v>300</c:v>
                </c:pt>
                <c:pt idx="109">
                  <c:v>304</c:v>
                </c:pt>
                <c:pt idx="110">
                  <c:v>307</c:v>
                </c:pt>
                <c:pt idx="111">
                  <c:v>315</c:v>
                </c:pt>
                <c:pt idx="112">
                  <c:v>328</c:v>
                </c:pt>
                <c:pt idx="113">
                  <c:v>331</c:v>
                </c:pt>
                <c:pt idx="114">
                  <c:v>337</c:v>
                </c:pt>
                <c:pt idx="115">
                  <c:v>336</c:v>
                </c:pt>
                <c:pt idx="116">
                  <c:v>353</c:v>
                </c:pt>
                <c:pt idx="117">
                  <c:v>403</c:v>
                </c:pt>
                <c:pt idx="118">
                  <c:v>419</c:v>
                </c:pt>
                <c:pt idx="119">
                  <c:v>448</c:v>
                </c:pt>
                <c:pt idx="120">
                  <c:v>467</c:v>
                </c:pt>
                <c:pt idx="121">
                  <c:v>486</c:v>
                </c:pt>
                <c:pt idx="122">
                  <c:v>560</c:v>
                </c:pt>
                <c:pt idx="123">
                  <c:v>627</c:v>
                </c:pt>
                <c:pt idx="124">
                  <c:v>715</c:v>
                </c:pt>
                <c:pt idx="125">
                  <c:v>804</c:v>
                </c:pt>
                <c:pt idx="126">
                  <c:v>812</c:v>
                </c:pt>
                <c:pt idx="127">
                  <c:v>796</c:v>
                </c:pt>
                <c:pt idx="128">
                  <c:v>813</c:v>
                </c:pt>
                <c:pt idx="129">
                  <c:v>904</c:v>
                </c:pt>
                <c:pt idx="130">
                  <c:v>1015</c:v>
                </c:pt>
                <c:pt idx="131">
                  <c:v>1136</c:v>
                </c:pt>
                <c:pt idx="132">
                  <c:v>1155</c:v>
                </c:pt>
                <c:pt idx="133">
                  <c:v>1207</c:v>
                </c:pt>
                <c:pt idx="134">
                  <c:v>1156</c:v>
                </c:pt>
                <c:pt idx="135">
                  <c:v>1156</c:v>
                </c:pt>
                <c:pt idx="136">
                  <c:v>1229</c:v>
                </c:pt>
                <c:pt idx="137">
                  <c:v>1368</c:v>
                </c:pt>
                <c:pt idx="138">
                  <c:v>1417</c:v>
                </c:pt>
                <c:pt idx="139">
                  <c:v>1356</c:v>
                </c:pt>
                <c:pt idx="140">
                  <c:v>1290</c:v>
                </c:pt>
                <c:pt idx="141">
                  <c:v>1235</c:v>
                </c:pt>
                <c:pt idx="142">
                  <c:v>1150</c:v>
                </c:pt>
                <c:pt idx="143">
                  <c:v>1154</c:v>
                </c:pt>
                <c:pt idx="144">
                  <c:v>1199</c:v>
                </c:pt>
                <c:pt idx="145">
                  <c:v>1195</c:v>
                </c:pt>
                <c:pt idx="146">
                  <c:v>1078</c:v>
                </c:pt>
                <c:pt idx="147">
                  <c:v>1017</c:v>
                </c:pt>
                <c:pt idx="148">
                  <c:v>902</c:v>
                </c:pt>
                <c:pt idx="149">
                  <c:v>822</c:v>
                </c:pt>
                <c:pt idx="150">
                  <c:v>844</c:v>
                </c:pt>
                <c:pt idx="151">
                  <c:v>874</c:v>
                </c:pt>
                <c:pt idx="152">
                  <c:v>890</c:v>
                </c:pt>
                <c:pt idx="153">
                  <c:v>807</c:v>
                </c:pt>
                <c:pt idx="154">
                  <c:v>761</c:v>
                </c:pt>
                <c:pt idx="155">
                  <c:v>714</c:v>
                </c:pt>
                <c:pt idx="156">
                  <c:v>646</c:v>
                </c:pt>
                <c:pt idx="157">
                  <c:v>635</c:v>
                </c:pt>
                <c:pt idx="158">
                  <c:v>642</c:v>
                </c:pt>
                <c:pt idx="159">
                  <c:v>647</c:v>
                </c:pt>
                <c:pt idx="160">
                  <c:v>559</c:v>
                </c:pt>
                <c:pt idx="161">
                  <c:v>513</c:v>
                </c:pt>
                <c:pt idx="162">
                  <c:v>479</c:v>
                </c:pt>
                <c:pt idx="163">
                  <c:v>444</c:v>
                </c:pt>
                <c:pt idx="164">
                  <c:v>456</c:v>
                </c:pt>
                <c:pt idx="165">
                  <c:v>460</c:v>
                </c:pt>
                <c:pt idx="166">
                  <c:v>482</c:v>
                </c:pt>
                <c:pt idx="167">
                  <c:v>456</c:v>
                </c:pt>
                <c:pt idx="168">
                  <c:v>438</c:v>
                </c:pt>
                <c:pt idx="169">
                  <c:v>423</c:v>
                </c:pt>
                <c:pt idx="170">
                  <c:v>403</c:v>
                </c:pt>
                <c:pt idx="171">
                  <c:v>432</c:v>
                </c:pt>
                <c:pt idx="172">
                  <c:v>466</c:v>
                </c:pt>
                <c:pt idx="173">
                  <c:v>486</c:v>
                </c:pt>
                <c:pt idx="174">
                  <c:v>457</c:v>
                </c:pt>
                <c:pt idx="175">
                  <c:v>442</c:v>
                </c:pt>
                <c:pt idx="176">
                  <c:v>410</c:v>
                </c:pt>
                <c:pt idx="177">
                  <c:v>399</c:v>
                </c:pt>
                <c:pt idx="178">
                  <c:v>437</c:v>
                </c:pt>
                <c:pt idx="179">
                  <c:v>457</c:v>
                </c:pt>
                <c:pt idx="180">
                  <c:v>479</c:v>
                </c:pt>
                <c:pt idx="181">
                  <c:v>443</c:v>
                </c:pt>
                <c:pt idx="182">
                  <c:v>4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0"/>
                  <c:y val="-9.325021500076717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2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17.09.21</c:v>
                </c:pt>
                <c:pt idx="1">
                  <c:v>18.09.21</c:v>
                </c:pt>
                <c:pt idx="2">
                  <c:v>19.09.21</c:v>
                </c:pt>
                <c:pt idx="3">
                  <c:v>20.09.21</c:v>
                </c:pt>
                <c:pt idx="4">
                  <c:v>21.09.21</c:v>
                </c:pt>
                <c:pt idx="5">
                  <c:v>22.09.21</c:v>
                </c:pt>
                <c:pt idx="6">
                  <c:v>23.09.21</c:v>
                </c:pt>
                <c:pt idx="7">
                  <c:v>24.09.21</c:v>
                </c:pt>
                <c:pt idx="8">
                  <c:v>25.09.21</c:v>
                </c:pt>
                <c:pt idx="9">
                  <c:v>26.09.21</c:v>
                </c:pt>
                <c:pt idx="10">
                  <c:v>27.09.21</c:v>
                </c:pt>
                <c:pt idx="11">
                  <c:v>28.09.21</c:v>
                </c:pt>
                <c:pt idx="12">
                  <c:v>29.09.21</c:v>
                </c:pt>
                <c:pt idx="13">
                  <c:v>30.09.21</c:v>
                </c:pt>
                <c:pt idx="14">
                  <c:v>01.10.21</c:v>
                </c:pt>
                <c:pt idx="15">
                  <c:v>02.10.21</c:v>
                </c:pt>
                <c:pt idx="16">
                  <c:v>03.10.21</c:v>
                </c:pt>
                <c:pt idx="17">
                  <c:v>04.10.21</c:v>
                </c:pt>
                <c:pt idx="18">
                  <c:v>05.10.21</c:v>
                </c:pt>
                <c:pt idx="19">
                  <c:v>06.10.21</c:v>
                </c:pt>
                <c:pt idx="20">
                  <c:v>07.10.21</c:v>
                </c:pt>
                <c:pt idx="21">
                  <c:v>08.10.21</c:v>
                </c:pt>
                <c:pt idx="22">
                  <c:v>09.10.21</c:v>
                </c:pt>
                <c:pt idx="23">
                  <c:v>10.10.21</c:v>
                </c:pt>
                <c:pt idx="24">
                  <c:v>11.10.21</c:v>
                </c:pt>
                <c:pt idx="25">
                  <c:v>12.10.21</c:v>
                </c:pt>
                <c:pt idx="26">
                  <c:v>13.10.21</c:v>
                </c:pt>
                <c:pt idx="27">
                  <c:v>14.10.21</c:v>
                </c:pt>
                <c:pt idx="28">
                  <c:v>15.10.21</c:v>
                </c:pt>
                <c:pt idx="29">
                  <c:v>16.10.21</c:v>
                </c:pt>
                <c:pt idx="30">
                  <c:v>17.10.21</c:v>
                </c:pt>
                <c:pt idx="31">
                  <c:v>18.10.21</c:v>
                </c:pt>
                <c:pt idx="32">
                  <c:v>19.10.21</c:v>
                </c:pt>
                <c:pt idx="33">
                  <c:v>20.10.21</c:v>
                </c:pt>
                <c:pt idx="34">
                  <c:v>21.10.21</c:v>
                </c:pt>
                <c:pt idx="35">
                  <c:v>22.10.21</c:v>
                </c:pt>
                <c:pt idx="36">
                  <c:v>23.10.21</c:v>
                </c:pt>
                <c:pt idx="37">
                  <c:v>24.10.21</c:v>
                </c:pt>
                <c:pt idx="38">
                  <c:v>25.10.21</c:v>
                </c:pt>
                <c:pt idx="39">
                  <c:v>26.10.21</c:v>
                </c:pt>
                <c:pt idx="40">
                  <c:v>27.10.21</c:v>
                </c:pt>
                <c:pt idx="41">
                  <c:v>28.10.21</c:v>
                </c:pt>
                <c:pt idx="42">
                  <c:v>29.10.21</c:v>
                </c:pt>
                <c:pt idx="43">
                  <c:v>30.10.21</c:v>
                </c:pt>
                <c:pt idx="44">
                  <c:v>31.10.21</c:v>
                </c:pt>
                <c:pt idx="45">
                  <c:v>01.11.21</c:v>
                </c:pt>
                <c:pt idx="46">
                  <c:v>02.11.21</c:v>
                </c:pt>
                <c:pt idx="47">
                  <c:v>03.11.21</c:v>
                </c:pt>
                <c:pt idx="48">
                  <c:v>04.11.21</c:v>
                </c:pt>
                <c:pt idx="49">
                  <c:v>05.11.21</c:v>
                </c:pt>
                <c:pt idx="50">
                  <c:v>06.11.21</c:v>
                </c:pt>
                <c:pt idx="51">
                  <c:v>07.11.21</c:v>
                </c:pt>
                <c:pt idx="52">
                  <c:v>08.11.21</c:v>
                </c:pt>
                <c:pt idx="53">
                  <c:v>09.11.21</c:v>
                </c:pt>
                <c:pt idx="54">
                  <c:v>10.11.21</c:v>
                </c:pt>
                <c:pt idx="55">
                  <c:v>11.11.21</c:v>
                </c:pt>
                <c:pt idx="56">
                  <c:v>12.11.21</c:v>
                </c:pt>
                <c:pt idx="57">
                  <c:v>13.11.21</c:v>
                </c:pt>
                <c:pt idx="58">
                  <c:v>14.11.21</c:v>
                </c:pt>
                <c:pt idx="59">
                  <c:v>15.11.21</c:v>
                </c:pt>
                <c:pt idx="60">
                  <c:v>16.11.21</c:v>
                </c:pt>
                <c:pt idx="61">
                  <c:v>17.11.21</c:v>
                </c:pt>
                <c:pt idx="62">
                  <c:v>18.11.21</c:v>
                </c:pt>
                <c:pt idx="63">
                  <c:v>19.11.21</c:v>
                </c:pt>
                <c:pt idx="64">
                  <c:v>20.11.21</c:v>
                </c:pt>
                <c:pt idx="65">
                  <c:v>21.11.21</c:v>
                </c:pt>
                <c:pt idx="66">
                  <c:v>22.11.21</c:v>
                </c:pt>
                <c:pt idx="67">
                  <c:v>23.11.21</c:v>
                </c:pt>
                <c:pt idx="68">
                  <c:v>24.11.21</c:v>
                </c:pt>
                <c:pt idx="69">
                  <c:v>25.11.21</c:v>
                </c:pt>
                <c:pt idx="70">
                  <c:v>26.11.21</c:v>
                </c:pt>
                <c:pt idx="71">
                  <c:v>27.11.21</c:v>
                </c:pt>
                <c:pt idx="72">
                  <c:v>28.11.21</c:v>
                </c:pt>
                <c:pt idx="73">
                  <c:v>29.11.21</c:v>
                </c:pt>
                <c:pt idx="74">
                  <c:v>30.11.21</c:v>
                </c:pt>
                <c:pt idx="75">
                  <c:v>01.12.21</c:v>
                </c:pt>
                <c:pt idx="76">
                  <c:v>02.12.21</c:v>
                </c:pt>
                <c:pt idx="77">
                  <c:v>03.12.21</c:v>
                </c:pt>
                <c:pt idx="78">
                  <c:v>04.12.21</c:v>
                </c:pt>
                <c:pt idx="79">
                  <c:v>05.12.21</c:v>
                </c:pt>
                <c:pt idx="80">
                  <c:v>06.12.21</c:v>
                </c:pt>
                <c:pt idx="81">
                  <c:v>07.12.21</c:v>
                </c:pt>
                <c:pt idx="82">
                  <c:v>08.12.21</c:v>
                </c:pt>
                <c:pt idx="83">
                  <c:v>09.12.21</c:v>
                </c:pt>
                <c:pt idx="84">
                  <c:v>10.12.21</c:v>
                </c:pt>
                <c:pt idx="85">
                  <c:v>11.12.21</c:v>
                </c:pt>
                <c:pt idx="86">
                  <c:v>12.12.21</c:v>
                </c:pt>
                <c:pt idx="87">
                  <c:v>13.12.21</c:v>
                </c:pt>
                <c:pt idx="88">
                  <c:v>14.12.21</c:v>
                </c:pt>
                <c:pt idx="89">
                  <c:v>15.12.21</c:v>
                </c:pt>
                <c:pt idx="90">
                  <c:v>16.12.21</c:v>
                </c:pt>
                <c:pt idx="91">
                  <c:v>17.12.21</c:v>
                </c:pt>
                <c:pt idx="92">
                  <c:v>18.12.21</c:v>
                </c:pt>
                <c:pt idx="93">
                  <c:v>19.12.21</c:v>
                </c:pt>
                <c:pt idx="94">
                  <c:v>20.12.21</c:v>
                </c:pt>
                <c:pt idx="95">
                  <c:v>21.12.21</c:v>
                </c:pt>
                <c:pt idx="96">
                  <c:v>22.12.21</c:v>
                </c:pt>
                <c:pt idx="97">
                  <c:v>23.12.21</c:v>
                </c:pt>
                <c:pt idx="98">
                  <c:v>24.12.21</c:v>
                </c:pt>
                <c:pt idx="99">
                  <c:v>25.12.21</c:v>
                </c:pt>
                <c:pt idx="100">
                  <c:v>26.12.21</c:v>
                </c:pt>
                <c:pt idx="101">
                  <c:v>27.12.21</c:v>
                </c:pt>
                <c:pt idx="102">
                  <c:v>28.12.21</c:v>
                </c:pt>
                <c:pt idx="103">
                  <c:v>29.12.21</c:v>
                </c:pt>
                <c:pt idx="104">
                  <c:v>30.12.21</c:v>
                </c:pt>
                <c:pt idx="105">
                  <c:v>31.12.21</c:v>
                </c:pt>
                <c:pt idx="106">
                  <c:v>01.01.22</c:v>
                </c:pt>
                <c:pt idx="107">
                  <c:v>02.01.22</c:v>
                </c:pt>
                <c:pt idx="108">
                  <c:v>03.01.22</c:v>
                </c:pt>
                <c:pt idx="109">
                  <c:v>04.01.22</c:v>
                </c:pt>
                <c:pt idx="110">
                  <c:v>05.01.22</c:v>
                </c:pt>
                <c:pt idx="111">
                  <c:v>06.01.22</c:v>
                </c:pt>
                <c:pt idx="112">
                  <c:v>07.01.22</c:v>
                </c:pt>
                <c:pt idx="113">
                  <c:v>08.01.22</c:v>
                </c:pt>
                <c:pt idx="114">
                  <c:v>09.01.22</c:v>
                </c:pt>
                <c:pt idx="115">
                  <c:v>10.01.22</c:v>
                </c:pt>
                <c:pt idx="116">
                  <c:v>11.01.22</c:v>
                </c:pt>
                <c:pt idx="117">
                  <c:v>12.01.22</c:v>
                </c:pt>
                <c:pt idx="118">
                  <c:v>13.01.22</c:v>
                </c:pt>
                <c:pt idx="119">
                  <c:v>14.01.22</c:v>
                </c:pt>
                <c:pt idx="120">
                  <c:v>15.01.22</c:v>
                </c:pt>
                <c:pt idx="121">
                  <c:v>16.01.22</c:v>
                </c:pt>
                <c:pt idx="122">
                  <c:v>17.01.22</c:v>
                </c:pt>
                <c:pt idx="123">
                  <c:v>18.01.22</c:v>
                </c:pt>
                <c:pt idx="124">
                  <c:v>19.01.22</c:v>
                </c:pt>
                <c:pt idx="125">
                  <c:v>20.01.22</c:v>
                </c:pt>
                <c:pt idx="126">
                  <c:v>21.01.22</c:v>
                </c:pt>
                <c:pt idx="127">
                  <c:v>22.01.22</c:v>
                </c:pt>
                <c:pt idx="128">
                  <c:v>23.01.22</c:v>
                </c:pt>
                <c:pt idx="129">
                  <c:v>24.01.22</c:v>
                </c:pt>
                <c:pt idx="130">
                  <c:v>25.01.22</c:v>
                </c:pt>
                <c:pt idx="131">
                  <c:v>26.01.22</c:v>
                </c:pt>
                <c:pt idx="132">
                  <c:v>27.01.22</c:v>
                </c:pt>
                <c:pt idx="133">
                  <c:v>28.01.22</c:v>
                </c:pt>
                <c:pt idx="134">
                  <c:v>29.01.22</c:v>
                </c:pt>
                <c:pt idx="135">
                  <c:v>30.01.22</c:v>
                </c:pt>
                <c:pt idx="136">
                  <c:v>31.01.22</c:v>
                </c:pt>
                <c:pt idx="137">
                  <c:v>01.02.22</c:v>
                </c:pt>
                <c:pt idx="138">
                  <c:v>02.02.22</c:v>
                </c:pt>
                <c:pt idx="139">
                  <c:v>03.02.22</c:v>
                </c:pt>
                <c:pt idx="140">
                  <c:v>04.02.22</c:v>
                </c:pt>
                <c:pt idx="141">
                  <c:v>05.02.22</c:v>
                </c:pt>
                <c:pt idx="142">
                  <c:v>06.02.22</c:v>
                </c:pt>
                <c:pt idx="143">
                  <c:v>07.02.22</c:v>
                </c:pt>
                <c:pt idx="144">
                  <c:v>08.02.22</c:v>
                </c:pt>
                <c:pt idx="145">
                  <c:v>09.02.22</c:v>
                </c:pt>
                <c:pt idx="146">
                  <c:v>10.02.22</c:v>
                </c:pt>
                <c:pt idx="147">
                  <c:v>11.02.22</c:v>
                </c:pt>
                <c:pt idx="148">
                  <c:v>12.02.22</c:v>
                </c:pt>
                <c:pt idx="149">
                  <c:v>13.02.22</c:v>
                </c:pt>
                <c:pt idx="150">
                  <c:v>14.02.22</c:v>
                </c:pt>
                <c:pt idx="151">
                  <c:v>15.02.22</c:v>
                </c:pt>
                <c:pt idx="152">
                  <c:v>16.02.22</c:v>
                </c:pt>
                <c:pt idx="153">
                  <c:v>17.02.22</c:v>
                </c:pt>
                <c:pt idx="154">
                  <c:v>18.02.22</c:v>
                </c:pt>
                <c:pt idx="155">
                  <c:v>19.02.22</c:v>
                </c:pt>
                <c:pt idx="156">
                  <c:v>20.02.22</c:v>
                </c:pt>
                <c:pt idx="157">
                  <c:v>21.02.22</c:v>
                </c:pt>
                <c:pt idx="158">
                  <c:v>22.02.22</c:v>
                </c:pt>
                <c:pt idx="159">
                  <c:v>23.02.22</c:v>
                </c:pt>
                <c:pt idx="160">
                  <c:v>24.02.22</c:v>
                </c:pt>
                <c:pt idx="161">
                  <c:v>25.02.22</c:v>
                </c:pt>
                <c:pt idx="162">
                  <c:v>26.02.22</c:v>
                </c:pt>
                <c:pt idx="163">
                  <c:v>27.02.22</c:v>
                </c:pt>
                <c:pt idx="164">
                  <c:v>28.02.22</c:v>
                </c:pt>
                <c:pt idx="165">
                  <c:v>01.03.22</c:v>
                </c:pt>
                <c:pt idx="166">
                  <c:v>02.03.22</c:v>
                </c:pt>
                <c:pt idx="167">
                  <c:v>03.03.22</c:v>
                </c:pt>
                <c:pt idx="168">
                  <c:v>04.03.22</c:v>
                </c:pt>
                <c:pt idx="169">
                  <c:v>05.03.22</c:v>
                </c:pt>
                <c:pt idx="170">
                  <c:v>06.03.22</c:v>
                </c:pt>
                <c:pt idx="171">
                  <c:v>07.03.22</c:v>
                </c:pt>
                <c:pt idx="172">
                  <c:v>08.03.22</c:v>
                </c:pt>
                <c:pt idx="173">
                  <c:v>09.03.22</c:v>
                </c:pt>
                <c:pt idx="174">
                  <c:v>10.03.22</c:v>
                </c:pt>
                <c:pt idx="175">
                  <c:v>11.03.22</c:v>
                </c:pt>
                <c:pt idx="176">
                  <c:v>12.03.22</c:v>
                </c:pt>
                <c:pt idx="177">
                  <c:v>13.03.22</c:v>
                </c:pt>
                <c:pt idx="178">
                  <c:v>14.03.22</c:v>
                </c:pt>
                <c:pt idx="179">
                  <c:v>15.03.22</c:v>
                </c:pt>
                <c:pt idx="180">
                  <c:v>16.03.22</c:v>
                </c:pt>
                <c:pt idx="181">
                  <c:v>17.03.22</c:v>
                </c:pt>
                <c:pt idx="182">
                  <c:v>18.03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150</c:v>
                </c:pt>
                <c:pt idx="1">
                  <c:v>152</c:v>
                </c:pt>
                <c:pt idx="2">
                  <c:v>153</c:v>
                </c:pt>
                <c:pt idx="3">
                  <c:v>158</c:v>
                </c:pt>
                <c:pt idx="4">
                  <c:v>160</c:v>
                </c:pt>
                <c:pt idx="5">
                  <c:v>164</c:v>
                </c:pt>
                <c:pt idx="6">
                  <c:v>167</c:v>
                </c:pt>
                <c:pt idx="7">
                  <c:v>174</c:v>
                </c:pt>
                <c:pt idx="8">
                  <c:v>180</c:v>
                </c:pt>
                <c:pt idx="9">
                  <c:v>182</c:v>
                </c:pt>
                <c:pt idx="10">
                  <c:v>183</c:v>
                </c:pt>
                <c:pt idx="11">
                  <c:v>188</c:v>
                </c:pt>
                <c:pt idx="12">
                  <c:v>194</c:v>
                </c:pt>
                <c:pt idx="13">
                  <c:v>203</c:v>
                </c:pt>
                <c:pt idx="14">
                  <c:v>205</c:v>
                </c:pt>
                <c:pt idx="15">
                  <c:v>206</c:v>
                </c:pt>
                <c:pt idx="16">
                  <c:v>213</c:v>
                </c:pt>
                <c:pt idx="17">
                  <c:v>212</c:v>
                </c:pt>
                <c:pt idx="18">
                  <c:v>221</c:v>
                </c:pt>
                <c:pt idx="19">
                  <c:v>225</c:v>
                </c:pt>
                <c:pt idx="20">
                  <c:v>227</c:v>
                </c:pt>
                <c:pt idx="21">
                  <c:v>228</c:v>
                </c:pt>
                <c:pt idx="22">
                  <c:v>228</c:v>
                </c:pt>
                <c:pt idx="23">
                  <c:v>226</c:v>
                </c:pt>
                <c:pt idx="24">
                  <c:v>237</c:v>
                </c:pt>
                <c:pt idx="25">
                  <c:v>249</c:v>
                </c:pt>
                <c:pt idx="26">
                  <c:v>250</c:v>
                </c:pt>
                <c:pt idx="27">
                  <c:v>260</c:v>
                </c:pt>
                <c:pt idx="28">
                  <c:v>270</c:v>
                </c:pt>
                <c:pt idx="29">
                  <c:v>275</c:v>
                </c:pt>
                <c:pt idx="30">
                  <c:v>278</c:v>
                </c:pt>
                <c:pt idx="31">
                  <c:v>300</c:v>
                </c:pt>
                <c:pt idx="32">
                  <c:v>310</c:v>
                </c:pt>
                <c:pt idx="33">
                  <c:v>328</c:v>
                </c:pt>
                <c:pt idx="34">
                  <c:v>367</c:v>
                </c:pt>
                <c:pt idx="35">
                  <c:v>394</c:v>
                </c:pt>
                <c:pt idx="36">
                  <c:v>423</c:v>
                </c:pt>
                <c:pt idx="37">
                  <c:v>427</c:v>
                </c:pt>
                <c:pt idx="38">
                  <c:v>470</c:v>
                </c:pt>
                <c:pt idx="39">
                  <c:v>516</c:v>
                </c:pt>
                <c:pt idx="40">
                  <c:v>565</c:v>
                </c:pt>
                <c:pt idx="41">
                  <c:v>578</c:v>
                </c:pt>
                <c:pt idx="42">
                  <c:v>638</c:v>
                </c:pt>
                <c:pt idx="43">
                  <c:v>684</c:v>
                </c:pt>
                <c:pt idx="44">
                  <c:v>711</c:v>
                </c:pt>
                <c:pt idx="45">
                  <c:v>772</c:v>
                </c:pt>
                <c:pt idx="46">
                  <c:v>853</c:v>
                </c:pt>
                <c:pt idx="47">
                  <c:v>925</c:v>
                </c:pt>
                <c:pt idx="48">
                  <c:v>969</c:v>
                </c:pt>
                <c:pt idx="49">
                  <c:v>1040</c:v>
                </c:pt>
                <c:pt idx="50">
                  <c:v>1096</c:v>
                </c:pt>
                <c:pt idx="51">
                  <c:v>1097</c:v>
                </c:pt>
                <c:pt idx="52">
                  <c:v>1138</c:v>
                </c:pt>
                <c:pt idx="53">
                  <c:v>1216</c:v>
                </c:pt>
                <c:pt idx="54">
                  <c:v>1318</c:v>
                </c:pt>
                <c:pt idx="55">
                  <c:v>1375</c:v>
                </c:pt>
                <c:pt idx="56">
                  <c:v>1444</c:v>
                </c:pt>
                <c:pt idx="57">
                  <c:v>1482</c:v>
                </c:pt>
                <c:pt idx="58">
                  <c:v>1490</c:v>
                </c:pt>
                <c:pt idx="59">
                  <c:v>1522</c:v>
                </c:pt>
                <c:pt idx="60">
                  <c:v>1634</c:v>
                </c:pt>
                <c:pt idx="61">
                  <c:v>1637</c:v>
                </c:pt>
                <c:pt idx="62">
                  <c:v>1695</c:v>
                </c:pt>
                <c:pt idx="63">
                  <c:v>1792</c:v>
                </c:pt>
                <c:pt idx="64">
                  <c:v>1889</c:v>
                </c:pt>
                <c:pt idx="65">
                  <c:v>1934</c:v>
                </c:pt>
                <c:pt idx="66">
                  <c:v>1945</c:v>
                </c:pt>
                <c:pt idx="67">
                  <c:v>2049</c:v>
                </c:pt>
                <c:pt idx="68">
                  <c:v>2034</c:v>
                </c:pt>
                <c:pt idx="69">
                  <c:v>2120</c:v>
                </c:pt>
                <c:pt idx="70">
                  <c:v>2150</c:v>
                </c:pt>
                <c:pt idx="71">
                  <c:v>2187</c:v>
                </c:pt>
                <c:pt idx="72">
                  <c:v>2212</c:v>
                </c:pt>
                <c:pt idx="73">
                  <c:v>2173</c:v>
                </c:pt>
                <c:pt idx="74">
                  <c:v>2148</c:v>
                </c:pt>
                <c:pt idx="75">
                  <c:v>2233</c:v>
                </c:pt>
                <c:pt idx="76">
                  <c:v>2157</c:v>
                </c:pt>
                <c:pt idx="77">
                  <c:v>2057</c:v>
                </c:pt>
                <c:pt idx="78">
                  <c:v>2060</c:v>
                </c:pt>
                <c:pt idx="79">
                  <c:v>2045</c:v>
                </c:pt>
                <c:pt idx="80">
                  <c:v>1909</c:v>
                </c:pt>
                <c:pt idx="81">
                  <c:v>1861</c:v>
                </c:pt>
                <c:pt idx="82">
                  <c:v>1808</c:v>
                </c:pt>
                <c:pt idx="83">
                  <c:v>1776</c:v>
                </c:pt>
                <c:pt idx="84">
                  <c:v>1713</c:v>
                </c:pt>
                <c:pt idx="85">
                  <c:v>1711</c:v>
                </c:pt>
                <c:pt idx="86">
                  <c:v>1698</c:v>
                </c:pt>
                <c:pt idx="87">
                  <c:v>1552</c:v>
                </c:pt>
                <c:pt idx="88">
                  <c:v>1523</c:v>
                </c:pt>
                <c:pt idx="89">
                  <c:v>1461</c:v>
                </c:pt>
                <c:pt idx="90">
                  <c:v>1395</c:v>
                </c:pt>
                <c:pt idx="91">
                  <c:v>1338</c:v>
                </c:pt>
                <c:pt idx="92">
                  <c:v>1325</c:v>
                </c:pt>
                <c:pt idx="93">
                  <c:v>1292</c:v>
                </c:pt>
                <c:pt idx="94">
                  <c:v>1185</c:v>
                </c:pt>
                <c:pt idx="95">
                  <c:v>1132</c:v>
                </c:pt>
                <c:pt idx="96">
                  <c:v>1083</c:v>
                </c:pt>
                <c:pt idx="97">
                  <c:v>1043</c:v>
                </c:pt>
                <c:pt idx="98">
                  <c:v>950</c:v>
                </c:pt>
                <c:pt idx="99">
                  <c:v>917</c:v>
                </c:pt>
                <c:pt idx="100">
                  <c:v>879</c:v>
                </c:pt>
                <c:pt idx="101">
                  <c:v>817</c:v>
                </c:pt>
                <c:pt idx="102">
                  <c:v>819</c:v>
                </c:pt>
                <c:pt idx="103">
                  <c:v>801</c:v>
                </c:pt>
                <c:pt idx="104">
                  <c:v>775</c:v>
                </c:pt>
                <c:pt idx="105">
                  <c:v>754</c:v>
                </c:pt>
                <c:pt idx="106">
                  <c:v>733</c:v>
                </c:pt>
                <c:pt idx="107">
                  <c:v>728</c:v>
                </c:pt>
                <c:pt idx="108">
                  <c:v>708</c:v>
                </c:pt>
                <c:pt idx="109">
                  <c:v>722</c:v>
                </c:pt>
                <c:pt idx="110">
                  <c:v>710</c:v>
                </c:pt>
                <c:pt idx="111">
                  <c:v>718</c:v>
                </c:pt>
                <c:pt idx="112">
                  <c:v>761</c:v>
                </c:pt>
                <c:pt idx="113">
                  <c:v>776</c:v>
                </c:pt>
                <c:pt idx="114">
                  <c:v>770</c:v>
                </c:pt>
                <c:pt idx="115">
                  <c:v>732</c:v>
                </c:pt>
                <c:pt idx="116">
                  <c:v>756</c:v>
                </c:pt>
                <c:pt idx="117">
                  <c:v>787</c:v>
                </c:pt>
                <c:pt idx="118">
                  <c:v>821</c:v>
                </c:pt>
                <c:pt idx="119">
                  <c:v>865</c:v>
                </c:pt>
                <c:pt idx="120">
                  <c:v>923</c:v>
                </c:pt>
                <c:pt idx="121">
                  <c:v>921</c:v>
                </c:pt>
                <c:pt idx="122">
                  <c:v>1008</c:v>
                </c:pt>
                <c:pt idx="123">
                  <c:v>1150</c:v>
                </c:pt>
                <c:pt idx="124">
                  <c:v>1297</c:v>
                </c:pt>
                <c:pt idx="125">
                  <c:v>1436</c:v>
                </c:pt>
                <c:pt idx="126">
                  <c:v>1551</c:v>
                </c:pt>
                <c:pt idx="127">
                  <c:v>1578</c:v>
                </c:pt>
                <c:pt idx="128">
                  <c:v>1599</c:v>
                </c:pt>
                <c:pt idx="129">
                  <c:v>1757</c:v>
                </c:pt>
                <c:pt idx="130">
                  <c:v>2026</c:v>
                </c:pt>
                <c:pt idx="131">
                  <c:v>2368</c:v>
                </c:pt>
                <c:pt idx="132">
                  <c:v>2484</c:v>
                </c:pt>
                <c:pt idx="133">
                  <c:v>2716</c:v>
                </c:pt>
                <c:pt idx="134">
                  <c:v>2674</c:v>
                </c:pt>
                <c:pt idx="135">
                  <c:v>2686</c:v>
                </c:pt>
                <c:pt idx="136">
                  <c:v>2907</c:v>
                </c:pt>
                <c:pt idx="137">
                  <c:v>3275</c:v>
                </c:pt>
                <c:pt idx="138">
                  <c:v>3536</c:v>
                </c:pt>
                <c:pt idx="139">
                  <c:v>3476</c:v>
                </c:pt>
                <c:pt idx="140">
                  <c:v>3393</c:v>
                </c:pt>
                <c:pt idx="141">
                  <c:v>3228</c:v>
                </c:pt>
                <c:pt idx="142">
                  <c:v>3008</c:v>
                </c:pt>
                <c:pt idx="143">
                  <c:v>3065</c:v>
                </c:pt>
                <c:pt idx="144">
                  <c:v>3281</c:v>
                </c:pt>
                <c:pt idx="145">
                  <c:v>3383</c:v>
                </c:pt>
                <c:pt idx="146">
                  <c:v>3078</c:v>
                </c:pt>
                <c:pt idx="147">
                  <c:v>2884</c:v>
                </c:pt>
                <c:pt idx="148">
                  <c:v>2667</c:v>
                </c:pt>
                <c:pt idx="149">
                  <c:v>2426</c:v>
                </c:pt>
                <c:pt idx="150">
                  <c:v>2412</c:v>
                </c:pt>
                <c:pt idx="151">
                  <c:v>2561</c:v>
                </c:pt>
                <c:pt idx="152">
                  <c:v>2644</c:v>
                </c:pt>
                <c:pt idx="153">
                  <c:v>2317</c:v>
                </c:pt>
                <c:pt idx="154">
                  <c:v>2196</c:v>
                </c:pt>
                <c:pt idx="155">
                  <c:v>1993</c:v>
                </c:pt>
                <c:pt idx="156">
                  <c:v>1801</c:v>
                </c:pt>
                <c:pt idx="157">
                  <c:v>1792</c:v>
                </c:pt>
                <c:pt idx="158">
                  <c:v>1824</c:v>
                </c:pt>
                <c:pt idx="159">
                  <c:v>1816</c:v>
                </c:pt>
                <c:pt idx="160">
                  <c:v>1581</c:v>
                </c:pt>
                <c:pt idx="161">
                  <c:v>1442</c:v>
                </c:pt>
                <c:pt idx="162">
                  <c:v>1303</c:v>
                </c:pt>
                <c:pt idx="163">
                  <c:v>1164</c:v>
                </c:pt>
                <c:pt idx="164">
                  <c:v>1142</c:v>
                </c:pt>
                <c:pt idx="165">
                  <c:v>1220</c:v>
                </c:pt>
                <c:pt idx="166">
                  <c:v>1252</c:v>
                </c:pt>
                <c:pt idx="167">
                  <c:v>1101</c:v>
                </c:pt>
                <c:pt idx="168">
                  <c:v>1096</c:v>
                </c:pt>
                <c:pt idx="169">
                  <c:v>1039</c:v>
                </c:pt>
                <c:pt idx="170">
                  <c:v>968</c:v>
                </c:pt>
                <c:pt idx="171">
                  <c:v>1017</c:v>
                </c:pt>
                <c:pt idx="172">
                  <c:v>1072</c:v>
                </c:pt>
                <c:pt idx="173">
                  <c:v>1131</c:v>
                </c:pt>
                <c:pt idx="174">
                  <c:v>1073</c:v>
                </c:pt>
                <c:pt idx="175">
                  <c:v>1058</c:v>
                </c:pt>
                <c:pt idx="176">
                  <c:v>993</c:v>
                </c:pt>
                <c:pt idx="177">
                  <c:v>930</c:v>
                </c:pt>
                <c:pt idx="178">
                  <c:v>968</c:v>
                </c:pt>
                <c:pt idx="179">
                  <c:v>1036</c:v>
                </c:pt>
                <c:pt idx="180">
                  <c:v>1114</c:v>
                </c:pt>
                <c:pt idx="181">
                  <c:v>1022</c:v>
                </c:pt>
                <c:pt idx="182">
                  <c:v>1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1.398776170664249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17.09.21</c:v>
                </c:pt>
                <c:pt idx="1">
                  <c:v>18.09.21</c:v>
                </c:pt>
                <c:pt idx="2">
                  <c:v>19.09.21</c:v>
                </c:pt>
                <c:pt idx="3">
                  <c:v>20.09.21</c:v>
                </c:pt>
                <c:pt idx="4">
                  <c:v>21.09.21</c:v>
                </c:pt>
                <c:pt idx="5">
                  <c:v>22.09.21</c:v>
                </c:pt>
                <c:pt idx="6">
                  <c:v>23.09.21</c:v>
                </c:pt>
                <c:pt idx="7">
                  <c:v>24.09.21</c:v>
                </c:pt>
                <c:pt idx="8">
                  <c:v>25.09.21</c:v>
                </c:pt>
                <c:pt idx="9">
                  <c:v>26.09.21</c:v>
                </c:pt>
                <c:pt idx="10">
                  <c:v>27.09.21</c:v>
                </c:pt>
                <c:pt idx="11">
                  <c:v>28.09.21</c:v>
                </c:pt>
                <c:pt idx="12">
                  <c:v>29.09.21</c:v>
                </c:pt>
                <c:pt idx="13">
                  <c:v>30.09.21</c:v>
                </c:pt>
                <c:pt idx="14">
                  <c:v>01.10.21</c:v>
                </c:pt>
                <c:pt idx="15">
                  <c:v>02.10.21</c:v>
                </c:pt>
                <c:pt idx="16">
                  <c:v>03.10.21</c:v>
                </c:pt>
                <c:pt idx="17">
                  <c:v>04.10.21</c:v>
                </c:pt>
                <c:pt idx="18">
                  <c:v>05.10.21</c:v>
                </c:pt>
                <c:pt idx="19">
                  <c:v>06.10.21</c:v>
                </c:pt>
                <c:pt idx="20">
                  <c:v>07.10.21</c:v>
                </c:pt>
                <c:pt idx="21">
                  <c:v>08.10.21</c:v>
                </c:pt>
                <c:pt idx="22">
                  <c:v>09.10.21</c:v>
                </c:pt>
                <c:pt idx="23">
                  <c:v>10.10.21</c:v>
                </c:pt>
                <c:pt idx="24">
                  <c:v>11.10.21</c:v>
                </c:pt>
                <c:pt idx="25">
                  <c:v>12.10.21</c:v>
                </c:pt>
                <c:pt idx="26">
                  <c:v>13.10.21</c:v>
                </c:pt>
                <c:pt idx="27">
                  <c:v>14.10.21</c:v>
                </c:pt>
                <c:pt idx="28">
                  <c:v>15.10.21</c:v>
                </c:pt>
                <c:pt idx="29">
                  <c:v>16.10.21</c:v>
                </c:pt>
                <c:pt idx="30">
                  <c:v>17.10.21</c:v>
                </c:pt>
                <c:pt idx="31">
                  <c:v>18.10.21</c:v>
                </c:pt>
                <c:pt idx="32">
                  <c:v>19.10.21</c:v>
                </c:pt>
                <c:pt idx="33">
                  <c:v>20.10.21</c:v>
                </c:pt>
                <c:pt idx="34">
                  <c:v>21.10.21</c:v>
                </c:pt>
                <c:pt idx="35">
                  <c:v>22.10.21</c:v>
                </c:pt>
                <c:pt idx="36">
                  <c:v>23.10.21</c:v>
                </c:pt>
                <c:pt idx="37">
                  <c:v>24.10.21</c:v>
                </c:pt>
                <c:pt idx="38">
                  <c:v>25.10.21</c:v>
                </c:pt>
                <c:pt idx="39">
                  <c:v>26.10.21</c:v>
                </c:pt>
                <c:pt idx="40">
                  <c:v>27.10.21</c:v>
                </c:pt>
                <c:pt idx="41">
                  <c:v>28.10.21</c:v>
                </c:pt>
                <c:pt idx="42">
                  <c:v>29.10.21</c:v>
                </c:pt>
                <c:pt idx="43">
                  <c:v>30.10.21</c:v>
                </c:pt>
                <c:pt idx="44">
                  <c:v>31.10.21</c:v>
                </c:pt>
                <c:pt idx="45">
                  <c:v>01.11.21</c:v>
                </c:pt>
                <c:pt idx="46">
                  <c:v>02.11.21</c:v>
                </c:pt>
                <c:pt idx="47">
                  <c:v>03.11.21</c:v>
                </c:pt>
                <c:pt idx="48">
                  <c:v>04.11.21</c:v>
                </c:pt>
                <c:pt idx="49">
                  <c:v>05.11.21</c:v>
                </c:pt>
                <c:pt idx="50">
                  <c:v>06.11.21</c:v>
                </c:pt>
                <c:pt idx="51">
                  <c:v>07.11.21</c:v>
                </c:pt>
                <c:pt idx="52">
                  <c:v>08.11.21</c:v>
                </c:pt>
                <c:pt idx="53">
                  <c:v>09.11.21</c:v>
                </c:pt>
                <c:pt idx="54">
                  <c:v>10.11.21</c:v>
                </c:pt>
                <c:pt idx="55">
                  <c:v>11.11.21</c:v>
                </c:pt>
                <c:pt idx="56">
                  <c:v>12.11.21</c:v>
                </c:pt>
                <c:pt idx="57">
                  <c:v>13.11.21</c:v>
                </c:pt>
                <c:pt idx="58">
                  <c:v>14.11.21</c:v>
                </c:pt>
                <c:pt idx="59">
                  <c:v>15.11.21</c:v>
                </c:pt>
                <c:pt idx="60">
                  <c:v>16.11.21</c:v>
                </c:pt>
                <c:pt idx="61">
                  <c:v>17.11.21</c:v>
                </c:pt>
                <c:pt idx="62">
                  <c:v>18.11.21</c:v>
                </c:pt>
                <c:pt idx="63">
                  <c:v>19.11.21</c:v>
                </c:pt>
                <c:pt idx="64">
                  <c:v>20.11.21</c:v>
                </c:pt>
                <c:pt idx="65">
                  <c:v>21.11.21</c:v>
                </c:pt>
                <c:pt idx="66">
                  <c:v>22.11.21</c:v>
                </c:pt>
                <c:pt idx="67">
                  <c:v>23.11.21</c:v>
                </c:pt>
                <c:pt idx="68">
                  <c:v>24.11.21</c:v>
                </c:pt>
                <c:pt idx="69">
                  <c:v>25.11.21</c:v>
                </c:pt>
                <c:pt idx="70">
                  <c:v>26.11.21</c:v>
                </c:pt>
                <c:pt idx="71">
                  <c:v>27.11.21</c:v>
                </c:pt>
                <c:pt idx="72">
                  <c:v>28.11.21</c:v>
                </c:pt>
                <c:pt idx="73">
                  <c:v>29.11.21</c:v>
                </c:pt>
                <c:pt idx="74">
                  <c:v>30.11.21</c:v>
                </c:pt>
                <c:pt idx="75">
                  <c:v>01.12.21</c:v>
                </c:pt>
                <c:pt idx="76">
                  <c:v>02.12.21</c:v>
                </c:pt>
                <c:pt idx="77">
                  <c:v>03.12.21</c:v>
                </c:pt>
                <c:pt idx="78">
                  <c:v>04.12.21</c:v>
                </c:pt>
                <c:pt idx="79">
                  <c:v>05.12.21</c:v>
                </c:pt>
                <c:pt idx="80">
                  <c:v>06.12.21</c:v>
                </c:pt>
                <c:pt idx="81">
                  <c:v>07.12.21</c:v>
                </c:pt>
                <c:pt idx="82">
                  <c:v>08.12.21</c:v>
                </c:pt>
                <c:pt idx="83">
                  <c:v>09.12.21</c:v>
                </c:pt>
                <c:pt idx="84">
                  <c:v>10.12.21</c:v>
                </c:pt>
                <c:pt idx="85">
                  <c:v>11.12.21</c:v>
                </c:pt>
                <c:pt idx="86">
                  <c:v>12.12.21</c:v>
                </c:pt>
                <c:pt idx="87">
                  <c:v>13.12.21</c:v>
                </c:pt>
                <c:pt idx="88">
                  <c:v>14.12.21</c:v>
                </c:pt>
                <c:pt idx="89">
                  <c:v>15.12.21</c:v>
                </c:pt>
                <c:pt idx="90">
                  <c:v>16.12.21</c:v>
                </c:pt>
                <c:pt idx="91">
                  <c:v>17.12.21</c:v>
                </c:pt>
                <c:pt idx="92">
                  <c:v>18.12.21</c:v>
                </c:pt>
                <c:pt idx="93">
                  <c:v>19.12.21</c:v>
                </c:pt>
                <c:pt idx="94">
                  <c:v>20.12.21</c:v>
                </c:pt>
                <c:pt idx="95">
                  <c:v>21.12.21</c:v>
                </c:pt>
                <c:pt idx="96">
                  <c:v>22.12.21</c:v>
                </c:pt>
                <c:pt idx="97">
                  <c:v>23.12.21</c:v>
                </c:pt>
                <c:pt idx="98">
                  <c:v>24.12.21</c:v>
                </c:pt>
                <c:pt idx="99">
                  <c:v>25.12.21</c:v>
                </c:pt>
                <c:pt idx="100">
                  <c:v>26.12.21</c:v>
                </c:pt>
                <c:pt idx="101">
                  <c:v>27.12.21</c:v>
                </c:pt>
                <c:pt idx="102">
                  <c:v>28.12.21</c:v>
                </c:pt>
                <c:pt idx="103">
                  <c:v>29.12.21</c:v>
                </c:pt>
                <c:pt idx="104">
                  <c:v>30.12.21</c:v>
                </c:pt>
                <c:pt idx="105">
                  <c:v>31.12.21</c:v>
                </c:pt>
                <c:pt idx="106">
                  <c:v>01.01.22</c:v>
                </c:pt>
                <c:pt idx="107">
                  <c:v>02.01.22</c:v>
                </c:pt>
                <c:pt idx="108">
                  <c:v>03.01.22</c:v>
                </c:pt>
                <c:pt idx="109">
                  <c:v>04.01.22</c:v>
                </c:pt>
                <c:pt idx="110">
                  <c:v>05.01.22</c:v>
                </c:pt>
                <c:pt idx="111">
                  <c:v>06.01.22</c:v>
                </c:pt>
                <c:pt idx="112">
                  <c:v>07.01.22</c:v>
                </c:pt>
                <c:pt idx="113">
                  <c:v>08.01.22</c:v>
                </c:pt>
                <c:pt idx="114">
                  <c:v>09.01.22</c:v>
                </c:pt>
                <c:pt idx="115">
                  <c:v>10.01.22</c:v>
                </c:pt>
                <c:pt idx="116">
                  <c:v>11.01.22</c:v>
                </c:pt>
                <c:pt idx="117">
                  <c:v>12.01.22</c:v>
                </c:pt>
                <c:pt idx="118">
                  <c:v>13.01.22</c:v>
                </c:pt>
                <c:pt idx="119">
                  <c:v>14.01.22</c:v>
                </c:pt>
                <c:pt idx="120">
                  <c:v>15.01.22</c:v>
                </c:pt>
                <c:pt idx="121">
                  <c:v>16.01.22</c:v>
                </c:pt>
                <c:pt idx="122">
                  <c:v>17.01.22</c:v>
                </c:pt>
                <c:pt idx="123">
                  <c:v>18.01.22</c:v>
                </c:pt>
                <c:pt idx="124">
                  <c:v>19.01.22</c:v>
                </c:pt>
                <c:pt idx="125">
                  <c:v>20.01.22</c:v>
                </c:pt>
                <c:pt idx="126">
                  <c:v>21.01.22</c:v>
                </c:pt>
                <c:pt idx="127">
                  <c:v>22.01.22</c:v>
                </c:pt>
                <c:pt idx="128">
                  <c:v>23.01.22</c:v>
                </c:pt>
                <c:pt idx="129">
                  <c:v>24.01.22</c:v>
                </c:pt>
                <c:pt idx="130">
                  <c:v>25.01.22</c:v>
                </c:pt>
                <c:pt idx="131">
                  <c:v>26.01.22</c:v>
                </c:pt>
                <c:pt idx="132">
                  <c:v>27.01.22</c:v>
                </c:pt>
                <c:pt idx="133">
                  <c:v>28.01.22</c:v>
                </c:pt>
                <c:pt idx="134">
                  <c:v>29.01.22</c:v>
                </c:pt>
                <c:pt idx="135">
                  <c:v>30.01.22</c:v>
                </c:pt>
                <c:pt idx="136">
                  <c:v>31.01.22</c:v>
                </c:pt>
                <c:pt idx="137">
                  <c:v>01.02.22</c:v>
                </c:pt>
                <c:pt idx="138">
                  <c:v>02.02.22</c:v>
                </c:pt>
                <c:pt idx="139">
                  <c:v>03.02.22</c:v>
                </c:pt>
                <c:pt idx="140">
                  <c:v>04.02.22</c:v>
                </c:pt>
                <c:pt idx="141">
                  <c:v>05.02.22</c:v>
                </c:pt>
                <c:pt idx="142">
                  <c:v>06.02.22</c:v>
                </c:pt>
                <c:pt idx="143">
                  <c:v>07.02.22</c:v>
                </c:pt>
                <c:pt idx="144">
                  <c:v>08.02.22</c:v>
                </c:pt>
                <c:pt idx="145">
                  <c:v>09.02.22</c:v>
                </c:pt>
                <c:pt idx="146">
                  <c:v>10.02.22</c:v>
                </c:pt>
                <c:pt idx="147">
                  <c:v>11.02.22</c:v>
                </c:pt>
                <c:pt idx="148">
                  <c:v>12.02.22</c:v>
                </c:pt>
                <c:pt idx="149">
                  <c:v>13.02.22</c:v>
                </c:pt>
                <c:pt idx="150">
                  <c:v>14.02.22</c:v>
                </c:pt>
                <c:pt idx="151">
                  <c:v>15.02.22</c:v>
                </c:pt>
                <c:pt idx="152">
                  <c:v>16.02.22</c:v>
                </c:pt>
                <c:pt idx="153">
                  <c:v>17.02.22</c:v>
                </c:pt>
                <c:pt idx="154">
                  <c:v>18.02.22</c:v>
                </c:pt>
                <c:pt idx="155">
                  <c:v>19.02.22</c:v>
                </c:pt>
                <c:pt idx="156">
                  <c:v>20.02.22</c:v>
                </c:pt>
                <c:pt idx="157">
                  <c:v>21.02.22</c:v>
                </c:pt>
                <c:pt idx="158">
                  <c:v>22.02.22</c:v>
                </c:pt>
                <c:pt idx="159">
                  <c:v>23.02.22</c:v>
                </c:pt>
                <c:pt idx="160">
                  <c:v>24.02.22</c:v>
                </c:pt>
                <c:pt idx="161">
                  <c:v>25.02.22</c:v>
                </c:pt>
                <c:pt idx="162">
                  <c:v>26.02.22</c:v>
                </c:pt>
                <c:pt idx="163">
                  <c:v>27.02.22</c:v>
                </c:pt>
                <c:pt idx="164">
                  <c:v>28.02.22</c:v>
                </c:pt>
                <c:pt idx="165">
                  <c:v>01.03.22</c:v>
                </c:pt>
                <c:pt idx="166">
                  <c:v>02.03.22</c:v>
                </c:pt>
                <c:pt idx="167">
                  <c:v>03.03.22</c:v>
                </c:pt>
                <c:pt idx="168">
                  <c:v>04.03.22</c:v>
                </c:pt>
                <c:pt idx="169">
                  <c:v>05.03.22</c:v>
                </c:pt>
                <c:pt idx="170">
                  <c:v>06.03.22</c:v>
                </c:pt>
                <c:pt idx="171">
                  <c:v>07.03.22</c:v>
                </c:pt>
                <c:pt idx="172">
                  <c:v>08.03.22</c:v>
                </c:pt>
                <c:pt idx="173">
                  <c:v>09.03.22</c:v>
                </c:pt>
                <c:pt idx="174">
                  <c:v>10.03.22</c:v>
                </c:pt>
                <c:pt idx="175">
                  <c:v>11.03.22</c:v>
                </c:pt>
                <c:pt idx="176">
                  <c:v>12.03.22</c:v>
                </c:pt>
                <c:pt idx="177">
                  <c:v>13.03.22</c:v>
                </c:pt>
                <c:pt idx="178">
                  <c:v>14.03.22</c:v>
                </c:pt>
                <c:pt idx="179">
                  <c:v>15.03.22</c:v>
                </c:pt>
                <c:pt idx="180">
                  <c:v>16.03.22</c:v>
                </c:pt>
                <c:pt idx="181">
                  <c:v>17.03.22</c:v>
                </c:pt>
                <c:pt idx="182">
                  <c:v>18.03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159</c:v>
                </c:pt>
                <c:pt idx="1">
                  <c:v>158</c:v>
                </c:pt>
                <c:pt idx="2">
                  <c:v>161</c:v>
                </c:pt>
                <c:pt idx="3">
                  <c:v>162</c:v>
                </c:pt>
                <c:pt idx="4">
                  <c:v>169</c:v>
                </c:pt>
                <c:pt idx="5">
                  <c:v>176</c:v>
                </c:pt>
                <c:pt idx="6">
                  <c:v>178</c:v>
                </c:pt>
                <c:pt idx="7">
                  <c:v>181</c:v>
                </c:pt>
                <c:pt idx="8">
                  <c:v>184</c:v>
                </c:pt>
                <c:pt idx="9">
                  <c:v>183</c:v>
                </c:pt>
                <c:pt idx="10">
                  <c:v>186</c:v>
                </c:pt>
                <c:pt idx="11">
                  <c:v>191</c:v>
                </c:pt>
                <c:pt idx="12">
                  <c:v>191</c:v>
                </c:pt>
                <c:pt idx="13">
                  <c:v>196</c:v>
                </c:pt>
                <c:pt idx="14">
                  <c:v>199</c:v>
                </c:pt>
                <c:pt idx="15">
                  <c:v>201</c:v>
                </c:pt>
                <c:pt idx="16">
                  <c:v>202</c:v>
                </c:pt>
                <c:pt idx="17">
                  <c:v>204</c:v>
                </c:pt>
                <c:pt idx="18">
                  <c:v>206</c:v>
                </c:pt>
                <c:pt idx="19">
                  <c:v>215</c:v>
                </c:pt>
                <c:pt idx="20">
                  <c:v>220</c:v>
                </c:pt>
                <c:pt idx="21">
                  <c:v>226</c:v>
                </c:pt>
                <c:pt idx="22">
                  <c:v>231</c:v>
                </c:pt>
                <c:pt idx="23">
                  <c:v>233</c:v>
                </c:pt>
                <c:pt idx="24">
                  <c:v>243</c:v>
                </c:pt>
                <c:pt idx="25">
                  <c:v>272</c:v>
                </c:pt>
                <c:pt idx="26">
                  <c:v>279</c:v>
                </c:pt>
                <c:pt idx="27">
                  <c:v>287</c:v>
                </c:pt>
                <c:pt idx="28">
                  <c:v>291</c:v>
                </c:pt>
                <c:pt idx="29">
                  <c:v>297</c:v>
                </c:pt>
                <c:pt idx="30">
                  <c:v>301</c:v>
                </c:pt>
                <c:pt idx="31">
                  <c:v>328</c:v>
                </c:pt>
                <c:pt idx="32">
                  <c:v>369</c:v>
                </c:pt>
                <c:pt idx="33">
                  <c:v>404</c:v>
                </c:pt>
                <c:pt idx="34">
                  <c:v>443</c:v>
                </c:pt>
                <c:pt idx="35">
                  <c:v>474</c:v>
                </c:pt>
                <c:pt idx="36">
                  <c:v>497</c:v>
                </c:pt>
                <c:pt idx="37">
                  <c:v>510</c:v>
                </c:pt>
                <c:pt idx="38">
                  <c:v>558</c:v>
                </c:pt>
                <c:pt idx="39">
                  <c:v>613</c:v>
                </c:pt>
                <c:pt idx="40">
                  <c:v>660</c:v>
                </c:pt>
                <c:pt idx="41">
                  <c:v>685</c:v>
                </c:pt>
                <c:pt idx="42">
                  <c:v>749</c:v>
                </c:pt>
                <c:pt idx="43">
                  <c:v>794</c:v>
                </c:pt>
                <c:pt idx="44">
                  <c:v>823</c:v>
                </c:pt>
                <c:pt idx="45">
                  <c:v>896</c:v>
                </c:pt>
                <c:pt idx="46">
                  <c:v>970</c:v>
                </c:pt>
                <c:pt idx="47">
                  <c:v>1032</c:v>
                </c:pt>
                <c:pt idx="48">
                  <c:v>1084</c:v>
                </c:pt>
                <c:pt idx="49">
                  <c:v>1171</c:v>
                </c:pt>
                <c:pt idx="50">
                  <c:v>1199</c:v>
                </c:pt>
                <c:pt idx="51">
                  <c:v>1201</c:v>
                </c:pt>
                <c:pt idx="52">
                  <c:v>1234</c:v>
                </c:pt>
                <c:pt idx="53">
                  <c:v>1301</c:v>
                </c:pt>
                <c:pt idx="54">
                  <c:v>1382</c:v>
                </c:pt>
                <c:pt idx="55">
                  <c:v>1467</c:v>
                </c:pt>
                <c:pt idx="56">
                  <c:v>1532</c:v>
                </c:pt>
                <c:pt idx="57">
                  <c:v>1575</c:v>
                </c:pt>
                <c:pt idx="58">
                  <c:v>1585</c:v>
                </c:pt>
                <c:pt idx="59">
                  <c:v>1572</c:v>
                </c:pt>
                <c:pt idx="60">
                  <c:v>1642</c:v>
                </c:pt>
                <c:pt idx="61">
                  <c:v>1693</c:v>
                </c:pt>
                <c:pt idx="62">
                  <c:v>1739</c:v>
                </c:pt>
                <c:pt idx="63">
                  <c:v>1874</c:v>
                </c:pt>
                <c:pt idx="64">
                  <c:v>1953</c:v>
                </c:pt>
                <c:pt idx="65">
                  <c:v>1997</c:v>
                </c:pt>
                <c:pt idx="66">
                  <c:v>2030</c:v>
                </c:pt>
                <c:pt idx="67">
                  <c:v>2084</c:v>
                </c:pt>
                <c:pt idx="68">
                  <c:v>2124</c:v>
                </c:pt>
                <c:pt idx="69">
                  <c:v>2243</c:v>
                </c:pt>
                <c:pt idx="70">
                  <c:v>2230</c:v>
                </c:pt>
                <c:pt idx="71">
                  <c:v>2279</c:v>
                </c:pt>
                <c:pt idx="72">
                  <c:v>2303</c:v>
                </c:pt>
                <c:pt idx="73">
                  <c:v>2274</c:v>
                </c:pt>
                <c:pt idx="74">
                  <c:v>2264</c:v>
                </c:pt>
                <c:pt idx="75">
                  <c:v>2352</c:v>
                </c:pt>
                <c:pt idx="76">
                  <c:v>2257</c:v>
                </c:pt>
                <c:pt idx="77">
                  <c:v>2192</c:v>
                </c:pt>
                <c:pt idx="78">
                  <c:v>2195</c:v>
                </c:pt>
                <c:pt idx="79">
                  <c:v>2171</c:v>
                </c:pt>
                <c:pt idx="80">
                  <c:v>2087</c:v>
                </c:pt>
                <c:pt idx="81">
                  <c:v>2043</c:v>
                </c:pt>
                <c:pt idx="82">
                  <c:v>1981</c:v>
                </c:pt>
                <c:pt idx="83">
                  <c:v>1914</c:v>
                </c:pt>
                <c:pt idx="84">
                  <c:v>1848</c:v>
                </c:pt>
                <c:pt idx="85">
                  <c:v>1849</c:v>
                </c:pt>
                <c:pt idx="86">
                  <c:v>1824</c:v>
                </c:pt>
                <c:pt idx="87">
                  <c:v>1700</c:v>
                </c:pt>
                <c:pt idx="88">
                  <c:v>1689</c:v>
                </c:pt>
                <c:pt idx="89">
                  <c:v>1653</c:v>
                </c:pt>
                <c:pt idx="90">
                  <c:v>1587</c:v>
                </c:pt>
                <c:pt idx="91">
                  <c:v>1539</c:v>
                </c:pt>
                <c:pt idx="92">
                  <c:v>1535</c:v>
                </c:pt>
                <c:pt idx="93">
                  <c:v>1507</c:v>
                </c:pt>
                <c:pt idx="94">
                  <c:v>1383</c:v>
                </c:pt>
                <c:pt idx="95">
                  <c:v>1325</c:v>
                </c:pt>
                <c:pt idx="96">
                  <c:v>1258</c:v>
                </c:pt>
                <c:pt idx="97">
                  <c:v>1238</c:v>
                </c:pt>
                <c:pt idx="98">
                  <c:v>1153</c:v>
                </c:pt>
                <c:pt idx="99">
                  <c:v>1115</c:v>
                </c:pt>
                <c:pt idx="100">
                  <c:v>1075</c:v>
                </c:pt>
                <c:pt idx="101">
                  <c:v>947</c:v>
                </c:pt>
                <c:pt idx="102">
                  <c:v>943</c:v>
                </c:pt>
                <c:pt idx="103">
                  <c:v>905</c:v>
                </c:pt>
                <c:pt idx="104">
                  <c:v>876</c:v>
                </c:pt>
                <c:pt idx="105">
                  <c:v>863</c:v>
                </c:pt>
                <c:pt idx="106">
                  <c:v>836</c:v>
                </c:pt>
                <c:pt idx="107">
                  <c:v>807</c:v>
                </c:pt>
                <c:pt idx="108">
                  <c:v>774</c:v>
                </c:pt>
                <c:pt idx="109">
                  <c:v>800</c:v>
                </c:pt>
                <c:pt idx="110">
                  <c:v>802</c:v>
                </c:pt>
                <c:pt idx="111">
                  <c:v>831</c:v>
                </c:pt>
                <c:pt idx="112">
                  <c:v>885</c:v>
                </c:pt>
                <c:pt idx="113">
                  <c:v>896</c:v>
                </c:pt>
                <c:pt idx="114">
                  <c:v>891</c:v>
                </c:pt>
                <c:pt idx="115">
                  <c:v>876</c:v>
                </c:pt>
                <c:pt idx="116">
                  <c:v>901</c:v>
                </c:pt>
                <c:pt idx="117">
                  <c:v>934</c:v>
                </c:pt>
                <c:pt idx="118">
                  <c:v>945</c:v>
                </c:pt>
                <c:pt idx="119">
                  <c:v>992</c:v>
                </c:pt>
                <c:pt idx="120">
                  <c:v>1035</c:v>
                </c:pt>
                <c:pt idx="121">
                  <c:v>1050</c:v>
                </c:pt>
                <c:pt idx="122">
                  <c:v>1112</c:v>
                </c:pt>
                <c:pt idx="123">
                  <c:v>1239</c:v>
                </c:pt>
                <c:pt idx="124">
                  <c:v>1385</c:v>
                </c:pt>
                <c:pt idx="125">
                  <c:v>1539</c:v>
                </c:pt>
                <c:pt idx="126">
                  <c:v>1578</c:v>
                </c:pt>
                <c:pt idx="127">
                  <c:v>1616</c:v>
                </c:pt>
                <c:pt idx="128">
                  <c:v>1613</c:v>
                </c:pt>
                <c:pt idx="129">
                  <c:v>1711</c:v>
                </c:pt>
                <c:pt idx="130">
                  <c:v>1975</c:v>
                </c:pt>
                <c:pt idx="131">
                  <c:v>2313</c:v>
                </c:pt>
                <c:pt idx="132">
                  <c:v>2385</c:v>
                </c:pt>
                <c:pt idx="133">
                  <c:v>2608</c:v>
                </c:pt>
                <c:pt idx="134">
                  <c:v>2520</c:v>
                </c:pt>
                <c:pt idx="135">
                  <c:v>2508</c:v>
                </c:pt>
                <c:pt idx="136">
                  <c:v>2632</c:v>
                </c:pt>
                <c:pt idx="137">
                  <c:v>3003</c:v>
                </c:pt>
                <c:pt idx="138">
                  <c:v>3211</c:v>
                </c:pt>
                <c:pt idx="139">
                  <c:v>3185</c:v>
                </c:pt>
                <c:pt idx="140">
                  <c:v>3116</c:v>
                </c:pt>
                <c:pt idx="141">
                  <c:v>2957</c:v>
                </c:pt>
                <c:pt idx="142">
                  <c:v>2721</c:v>
                </c:pt>
                <c:pt idx="143">
                  <c:v>2815</c:v>
                </c:pt>
                <c:pt idx="144">
                  <c:v>3035</c:v>
                </c:pt>
                <c:pt idx="145">
                  <c:v>3193</c:v>
                </c:pt>
                <c:pt idx="146">
                  <c:v>2902</c:v>
                </c:pt>
                <c:pt idx="147">
                  <c:v>2721</c:v>
                </c:pt>
                <c:pt idx="148">
                  <c:v>2487</c:v>
                </c:pt>
                <c:pt idx="149">
                  <c:v>2253</c:v>
                </c:pt>
                <c:pt idx="150">
                  <c:v>2216</c:v>
                </c:pt>
                <c:pt idx="151">
                  <c:v>2360</c:v>
                </c:pt>
                <c:pt idx="152">
                  <c:v>2377</c:v>
                </c:pt>
                <c:pt idx="153">
                  <c:v>2046</c:v>
                </c:pt>
                <c:pt idx="154">
                  <c:v>1876</c:v>
                </c:pt>
                <c:pt idx="155">
                  <c:v>1692</c:v>
                </c:pt>
                <c:pt idx="156">
                  <c:v>1506</c:v>
                </c:pt>
                <c:pt idx="157">
                  <c:v>1467</c:v>
                </c:pt>
                <c:pt idx="158">
                  <c:v>1510</c:v>
                </c:pt>
                <c:pt idx="159">
                  <c:v>1527</c:v>
                </c:pt>
                <c:pt idx="160">
                  <c:v>1331</c:v>
                </c:pt>
                <c:pt idx="161">
                  <c:v>1239</c:v>
                </c:pt>
                <c:pt idx="162">
                  <c:v>1131</c:v>
                </c:pt>
                <c:pt idx="163">
                  <c:v>1027</c:v>
                </c:pt>
                <c:pt idx="164">
                  <c:v>1040</c:v>
                </c:pt>
                <c:pt idx="165">
                  <c:v>1111</c:v>
                </c:pt>
                <c:pt idx="166">
                  <c:v>1161</c:v>
                </c:pt>
                <c:pt idx="167">
                  <c:v>1032</c:v>
                </c:pt>
                <c:pt idx="168">
                  <c:v>985</c:v>
                </c:pt>
                <c:pt idx="169">
                  <c:v>926</c:v>
                </c:pt>
                <c:pt idx="170">
                  <c:v>833</c:v>
                </c:pt>
                <c:pt idx="171">
                  <c:v>897</c:v>
                </c:pt>
                <c:pt idx="172">
                  <c:v>969</c:v>
                </c:pt>
                <c:pt idx="173">
                  <c:v>1045</c:v>
                </c:pt>
                <c:pt idx="174">
                  <c:v>943</c:v>
                </c:pt>
                <c:pt idx="175">
                  <c:v>923</c:v>
                </c:pt>
                <c:pt idx="176">
                  <c:v>866</c:v>
                </c:pt>
                <c:pt idx="177">
                  <c:v>807</c:v>
                </c:pt>
                <c:pt idx="178">
                  <c:v>885</c:v>
                </c:pt>
                <c:pt idx="179">
                  <c:v>957</c:v>
                </c:pt>
                <c:pt idx="180">
                  <c:v>1020</c:v>
                </c:pt>
                <c:pt idx="181">
                  <c:v>930</c:v>
                </c:pt>
                <c:pt idx="182">
                  <c:v>9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0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8455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3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3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3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3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3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3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20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8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chart" Target="../charts/chart10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notesSlide" Target="../notesSlides/notesSlide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chart" Target="../charts/chart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slideLayout" Target="../slideLayouts/slideLayout8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chart" Target="../charts/chart12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notesSlide" Target="../notesSlides/notesSlide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4" Type="http://schemas.openxmlformats.org/officeDocument/2006/relationships/chart" Target="../charts/char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slideLayout" Target="../slideLayouts/slideLayout8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chart" Target="../charts/chart14.xml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notesSlide" Target="../notesSlides/notesSlide2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chart" Target="../charts/char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slideLayout" Target="../slideLayouts/slideLayout8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tags" Target="../tags/tag48.xml"/><Relationship Id="rId15" Type="http://schemas.openxmlformats.org/officeDocument/2006/relationships/chart" Target="../charts/chart16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notesSlide" Target="../notesSlides/notesSlide2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chart" Target="../charts/chart17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5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4" Type="http://schemas.openxmlformats.org/officeDocument/2006/relationships/tags" Target="../tags/tag6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4" Type="http://schemas.openxmlformats.org/officeDocument/2006/relationships/chart" Target="../charts/char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8 % a sestry 84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3700480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2932876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4643846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9249086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5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18. 3. 2022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81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/2021 – 03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18. 3. 2022</a:t>
            </a:r>
          </a:p>
        </p:txBody>
      </p:sp>
    </p:spTree>
    <p:extLst>
      <p:ext uri="{BB962C8B-B14F-4D97-AF65-F5344CB8AC3E}">
        <p14:creationId xmlns:p14="http://schemas.microsoft.com/office/powerpoint/2010/main" val="8872551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/2021 – 03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18. 3. 2022</a:t>
            </a:r>
          </a:p>
        </p:txBody>
      </p:sp>
    </p:spTree>
    <p:extLst>
      <p:ext uri="{BB962C8B-B14F-4D97-AF65-F5344CB8AC3E}">
        <p14:creationId xmlns:p14="http://schemas.microsoft.com/office/powerpoint/2010/main" val="22101833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03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18. 3. 2022</a:t>
            </a:r>
          </a:p>
        </p:txBody>
      </p:sp>
    </p:spTree>
    <p:extLst>
      <p:ext uri="{BB962C8B-B14F-4D97-AF65-F5344CB8AC3E}">
        <p14:creationId xmlns:p14="http://schemas.microsoft.com/office/powerpoint/2010/main" val="31302752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8. 3. 2022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759609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E5DDF421-5C27-4BF3-BEBF-B83961865B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1873338"/>
              </p:ext>
            </p:extLst>
          </p:nvPr>
        </p:nvGraphicFramePr>
        <p:xfrm>
          <a:off x="1943095" y="1600986"/>
          <a:ext cx="9946013" cy="4545750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4157827917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47359944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987551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08493879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106184543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12967948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115940426"/>
                    </a:ext>
                  </a:extLst>
                </a:gridCol>
              </a:tblGrid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039039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6C9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1463820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5639062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37905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065600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526694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0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4147979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4604703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563198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15185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1870794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0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9422443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619110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C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3012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224037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8. 3. 2022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83937"/>
              </p:ext>
            </p:extLst>
          </p:nvPr>
        </p:nvGraphicFramePr>
        <p:xfrm>
          <a:off x="302889" y="921878"/>
          <a:ext cx="11586222" cy="5235072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6578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5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2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0 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0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 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 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 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3 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 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 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3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 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 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8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4 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1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 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 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 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 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 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3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4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 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 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 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 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 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9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3 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3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91 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362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75 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8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221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34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48535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24A2C78B-7E52-4AA6-B37A-62B6C2E5EC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139587"/>
              </p:ext>
            </p:extLst>
          </p:nvPr>
        </p:nvGraphicFramePr>
        <p:xfrm>
          <a:off x="2419349" y="1343818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0061823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4505076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2659983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1641768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7118298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212980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09843506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1748607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20199494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2080205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3300267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920758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96317966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85290222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01701498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424619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97553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108377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42206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331021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7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29094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2962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38038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583420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314616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F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76659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748851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180116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8. 3. 2022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1638449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66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5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6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2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A0E17-AC87-4A06-8BFF-D4626ED2DB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208206"/>
              </p:ext>
            </p:extLst>
          </p:nvPr>
        </p:nvGraphicFramePr>
        <p:xfrm>
          <a:off x="2419349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69778846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9985932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1765805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2478145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672757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2863695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5494788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4990738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8017931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1120307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4897533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2958970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5179655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5687371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56620989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63563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864600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03566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80136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231478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09376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4308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18959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670089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3599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00615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195975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C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247352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8. 3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F1561B3-7273-473B-A2DD-A77D8870E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5462061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86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5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8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3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8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1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52482748-7777-4FEF-A872-F35246E600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7529732"/>
              </p:ext>
            </p:extLst>
          </p:nvPr>
        </p:nvGraphicFramePr>
        <p:xfrm>
          <a:off x="2419349" y="1343818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71724549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385517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1497195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6541381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0822395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2079111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403337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245640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435645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202364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744524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4456005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1496860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18568911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02258274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4296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585959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333304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586566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61834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81962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3393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0014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3756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706810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33131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43025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6375905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 a ve více typech zdravotnických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8. 3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0FC5E21-D439-468C-9A0B-56B392BA28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8685587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45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8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2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4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0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49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8. 3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1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8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6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4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0 (10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5 (10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2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8128" y="1540420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91070" y="1371146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8128" y="1835695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3751224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22790846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</a:t>
            </a: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8. 3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723900" y="6567385"/>
            <a:ext cx="4933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5163612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630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25497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2.–18. 2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3.–18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3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0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7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pSp>
        <p:nvGrpSpPr>
          <p:cNvPr id="2" name="Skupina 1">
            <a:extLst>
              <a:ext uri="{FF2B5EF4-FFF2-40B4-BE49-F238E27FC236}">
                <a16:creationId xmlns:a16="http://schemas.microsoft.com/office/drawing/2014/main" id="{A83AD745-D054-41C1-9A62-598DAAC7AE6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5844719" y="3589127"/>
            <a:ext cx="5520511" cy="1559118"/>
            <a:chOff x="6549854" y="3422165"/>
            <a:chExt cx="5520511" cy="1559118"/>
          </a:xfrm>
        </p:grpSpPr>
        <p:cxnSp>
          <p:nvCxnSpPr>
            <p:cNvPr id="20" name="Přímá spojnice se šipkou 19">
              <a:extLst>
                <a:ext uri="{FF2B5EF4-FFF2-40B4-BE49-F238E27FC236}">
                  <a16:creationId xmlns:a16="http://schemas.microsoft.com/office/drawing/2014/main" id="{2320A3AA-3AFD-4C4E-8A1C-EA871A98FEDC}"/>
                </a:ext>
              </a:extLst>
            </p:cNvPr>
            <p:cNvCxnSpPr>
              <a:cxnSpLocks/>
            </p:cNvCxnSpPr>
            <p:nvPr>
              <p:custDataLst>
                <p:tags r:id="rId9"/>
              </p:custDataLst>
            </p:nvPr>
          </p:nvCxnSpPr>
          <p:spPr>
            <a:xfrm flipV="1">
              <a:off x="6549854" y="4668253"/>
              <a:ext cx="1189962" cy="31303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se šipkou 22">
              <a:extLst>
                <a:ext uri="{FF2B5EF4-FFF2-40B4-BE49-F238E27FC236}">
                  <a16:creationId xmlns:a16="http://schemas.microsoft.com/office/drawing/2014/main" id="{7E510493-60A7-4A3A-A34C-2EF9447FBC6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8018105" y="4667149"/>
              <a:ext cx="1067803" cy="22665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se šipkou 23">
              <a:extLst>
                <a:ext uri="{FF2B5EF4-FFF2-40B4-BE49-F238E27FC236}">
                  <a16:creationId xmlns:a16="http://schemas.microsoft.com/office/drawing/2014/main" id="{04B15B8A-6F40-40B0-9C6D-4BE159A69F6D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 flipV="1">
              <a:off x="9730042" y="3422165"/>
              <a:ext cx="671543" cy="15470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se šipkou 24">
              <a:extLst>
                <a:ext uri="{FF2B5EF4-FFF2-40B4-BE49-F238E27FC236}">
                  <a16:creationId xmlns:a16="http://schemas.microsoft.com/office/drawing/2014/main" id="{223E1B88-4B2C-4081-AAB0-ABA4F1890253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>
            <a:xfrm>
              <a:off x="10851808" y="3422165"/>
              <a:ext cx="1218557" cy="133592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258122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A1A17EB-9ECA-4C24-8912-EF92363C1CE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1804359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2.–18. 2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3.–18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graphicFrame>
        <p:nvGraphicFramePr>
          <p:cNvPr id="18" name="Chart 4">
            <a:extLst>
              <a:ext uri="{FF2B5EF4-FFF2-40B4-BE49-F238E27FC236}">
                <a16:creationId xmlns:a16="http://schemas.microsoft.com/office/drawing/2014/main" id="{EBC8B2C2-A9DA-424A-A1E3-05EFD0D032E5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09547" y="30293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" name="Skupina 1">
            <a:extLst>
              <a:ext uri="{FF2B5EF4-FFF2-40B4-BE49-F238E27FC236}">
                <a16:creationId xmlns:a16="http://schemas.microsoft.com/office/drawing/2014/main" id="{778D5767-5BD9-4BAD-B3B1-B1459AD9EFC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6408480" y="3423454"/>
            <a:ext cx="5375850" cy="1691640"/>
            <a:chOff x="6541833" y="3624945"/>
            <a:chExt cx="5375850" cy="1691640"/>
          </a:xfrm>
        </p:grpSpPr>
        <p:cxnSp>
          <p:nvCxnSpPr>
            <p:cNvPr id="17" name="Přímá spojnice se šipkou 16">
              <a:extLst>
                <a:ext uri="{FF2B5EF4-FFF2-40B4-BE49-F238E27FC236}">
                  <a16:creationId xmlns:a16="http://schemas.microsoft.com/office/drawing/2014/main" id="{89681569-0B3B-41A7-BBC5-45E04A4B351F}"/>
                </a:ext>
              </a:extLst>
            </p:cNvPr>
            <p:cNvCxnSpPr>
              <a:cxnSpLocks/>
            </p:cNvCxnSpPr>
            <p:nvPr>
              <p:custDataLst>
                <p:tags r:id="rId9"/>
              </p:custDataLst>
            </p:nvPr>
          </p:nvCxnSpPr>
          <p:spPr>
            <a:xfrm flipV="1">
              <a:off x="6541833" y="4668253"/>
              <a:ext cx="1189962" cy="31303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se šipkou 19">
              <a:extLst>
                <a:ext uri="{FF2B5EF4-FFF2-40B4-BE49-F238E27FC236}">
                  <a16:creationId xmlns:a16="http://schemas.microsoft.com/office/drawing/2014/main" id="{307C7006-CCE6-49DC-817A-9B387F1C33F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8010084" y="4667149"/>
              <a:ext cx="1067803" cy="22665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Přímá spojnice se šipkou 20">
              <a:extLst>
                <a:ext uri="{FF2B5EF4-FFF2-40B4-BE49-F238E27FC236}">
                  <a16:creationId xmlns:a16="http://schemas.microsoft.com/office/drawing/2014/main" id="{128DE629-B704-4719-8DEE-A5F21EF8092D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 flipV="1">
              <a:off x="9117740" y="3624945"/>
              <a:ext cx="726928" cy="119982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se šipkou 22">
              <a:extLst>
                <a:ext uri="{FF2B5EF4-FFF2-40B4-BE49-F238E27FC236}">
                  <a16:creationId xmlns:a16="http://schemas.microsoft.com/office/drawing/2014/main" id="{263B6BDE-9A12-49AA-A119-880B01936743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>
            <a:xfrm>
              <a:off x="10554187" y="3624945"/>
              <a:ext cx="1363496" cy="169164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333009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AB75CD35-D60A-4842-A868-455961D2CCC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31129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2.–18. 2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3.–18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7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pSp>
        <p:nvGrpSpPr>
          <p:cNvPr id="2" name="Skupina 1">
            <a:extLst>
              <a:ext uri="{FF2B5EF4-FFF2-40B4-BE49-F238E27FC236}">
                <a16:creationId xmlns:a16="http://schemas.microsoft.com/office/drawing/2014/main" id="{EB080191-FE19-44E2-8BF0-224F293B494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5966922" y="3318706"/>
            <a:ext cx="5799363" cy="1622231"/>
            <a:chOff x="6581938" y="3359052"/>
            <a:chExt cx="5799363" cy="1622231"/>
          </a:xfrm>
        </p:grpSpPr>
        <p:cxnSp>
          <p:nvCxnSpPr>
            <p:cNvPr id="17" name="Přímá spojnice se šipkou 16">
              <a:extLst>
                <a:ext uri="{FF2B5EF4-FFF2-40B4-BE49-F238E27FC236}">
                  <a16:creationId xmlns:a16="http://schemas.microsoft.com/office/drawing/2014/main" id="{1402A2C9-B62B-49F0-ADE9-25EB6256DC3A}"/>
                </a:ext>
              </a:extLst>
            </p:cNvPr>
            <p:cNvCxnSpPr>
              <a:cxnSpLocks/>
            </p:cNvCxnSpPr>
            <p:nvPr>
              <p:custDataLst>
                <p:tags r:id="rId9"/>
              </p:custDataLst>
            </p:nvPr>
          </p:nvCxnSpPr>
          <p:spPr>
            <a:xfrm flipV="1">
              <a:off x="6581938" y="4668253"/>
              <a:ext cx="1189962" cy="31303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Přímá spojnice se šipkou 17">
              <a:extLst>
                <a:ext uri="{FF2B5EF4-FFF2-40B4-BE49-F238E27FC236}">
                  <a16:creationId xmlns:a16="http://schemas.microsoft.com/office/drawing/2014/main" id="{4C4032AF-598C-4AB8-B9DE-7ED4275A190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8050189" y="4667149"/>
              <a:ext cx="1067803" cy="22665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se šipkou 19">
              <a:extLst>
                <a:ext uri="{FF2B5EF4-FFF2-40B4-BE49-F238E27FC236}">
                  <a16:creationId xmlns:a16="http://schemas.microsoft.com/office/drawing/2014/main" id="{1F2CCC0B-2D00-4043-B0D2-CFA20A0759FB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 flipV="1">
              <a:off x="9666876" y="3359052"/>
              <a:ext cx="542725" cy="119107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Přímá spojnice se šipkou 20">
              <a:extLst>
                <a:ext uri="{FF2B5EF4-FFF2-40B4-BE49-F238E27FC236}">
                  <a16:creationId xmlns:a16="http://schemas.microsoft.com/office/drawing/2014/main" id="{D6BBB471-04DD-44FB-95A7-2201BE912C65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>
            <a:xfrm>
              <a:off x="10895401" y="3359052"/>
              <a:ext cx="1485900" cy="162223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717053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48FC8E2C-EA85-4B60-9865-EAD22E25BEC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392391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95147" y="69562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4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13717" y="23550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57785" y="3112624"/>
            <a:ext cx="1176796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podzimu 2021 vzrostla, a to ve všech profesních skupinách. Celková proočkovanost ZP dosahuje 83,8 % (jen ZP skutečně aktivní ve zdravotnictví). Roste i proočkovanost posilující dávkou. Z pracovníků, kteří na ni mají (časově) nárok, ji dosud absolvovalo 88,6 % lékařů, 79,3 % sester a 75,4 % ostatních NLZP (celkem 80,0 % všech aktivních ZP s nárokem na booster)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2211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2.–18. 2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3.–18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pSp>
        <p:nvGrpSpPr>
          <p:cNvPr id="2" name="Skupina 1">
            <a:extLst>
              <a:ext uri="{FF2B5EF4-FFF2-40B4-BE49-F238E27FC236}">
                <a16:creationId xmlns:a16="http://schemas.microsoft.com/office/drawing/2014/main" id="{723B5A9D-BF8E-485F-8A3A-4CC2F57054E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5854602" y="3164721"/>
            <a:ext cx="5687514" cy="1866608"/>
            <a:chOff x="6581938" y="3114675"/>
            <a:chExt cx="5687514" cy="1866608"/>
          </a:xfrm>
        </p:grpSpPr>
        <p:cxnSp>
          <p:nvCxnSpPr>
            <p:cNvPr id="17" name="Přímá spojnice se šipkou 16">
              <a:extLst>
                <a:ext uri="{FF2B5EF4-FFF2-40B4-BE49-F238E27FC236}">
                  <a16:creationId xmlns:a16="http://schemas.microsoft.com/office/drawing/2014/main" id="{9784ABF4-90ED-4F1B-AB94-3024A02BFA29}"/>
                </a:ext>
              </a:extLst>
            </p:cNvPr>
            <p:cNvCxnSpPr>
              <a:cxnSpLocks/>
            </p:cNvCxnSpPr>
            <p:nvPr>
              <p:custDataLst>
                <p:tags r:id="rId9"/>
              </p:custDataLst>
            </p:nvPr>
          </p:nvCxnSpPr>
          <p:spPr>
            <a:xfrm flipV="1">
              <a:off x="6581938" y="4668253"/>
              <a:ext cx="1189962" cy="31303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se šipkou 19">
              <a:extLst>
                <a:ext uri="{FF2B5EF4-FFF2-40B4-BE49-F238E27FC236}">
                  <a16:creationId xmlns:a16="http://schemas.microsoft.com/office/drawing/2014/main" id="{6C34FA21-A40F-47E4-B215-CB96C1E6F88C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8050189" y="4667149"/>
              <a:ext cx="1067803" cy="22665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Přímá spojnice se šipkou 20">
              <a:extLst>
                <a:ext uri="{FF2B5EF4-FFF2-40B4-BE49-F238E27FC236}">
                  <a16:creationId xmlns:a16="http://schemas.microsoft.com/office/drawing/2014/main" id="{45783179-72FB-412A-BD1D-9BA73ECA83EB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 flipV="1">
              <a:off x="9666876" y="3261360"/>
              <a:ext cx="600700" cy="128876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se šipkou 22">
              <a:extLst>
                <a:ext uri="{FF2B5EF4-FFF2-40B4-BE49-F238E27FC236}">
                  <a16:creationId xmlns:a16="http://schemas.microsoft.com/office/drawing/2014/main" id="{6664C821-61EF-4F87-B839-85EC4133332D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>
            <a:xfrm>
              <a:off x="10952751" y="3114675"/>
              <a:ext cx="1316701" cy="177913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527597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735CB74D-F127-4228-A9FF-25D378C73C4F}"/>
              </a:ext>
            </a:extLst>
          </p:cNvPr>
          <p:cNvGraphicFramePr>
            <a:graphicFrameLocks noGrp="1"/>
          </p:cNvGraphicFramePr>
          <p:nvPr/>
        </p:nvGraphicFramePr>
        <p:xfrm>
          <a:off x="2342428" y="2260657"/>
          <a:ext cx="9276168" cy="3621360"/>
        </p:xfrm>
        <a:graphic>
          <a:graphicData uri="http://schemas.openxmlformats.org/drawingml/2006/table">
            <a:tbl>
              <a:tblPr/>
              <a:tblGrid>
                <a:gridCol w="773014">
                  <a:extLst>
                    <a:ext uri="{9D8B030D-6E8A-4147-A177-3AD203B41FA5}">
                      <a16:colId xmlns:a16="http://schemas.microsoft.com/office/drawing/2014/main" val="1739220501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1238745095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025301957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461078058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480712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4224585253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106418976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741754713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326991026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514428683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922922217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662294396"/>
                    </a:ext>
                  </a:extLst>
                </a:gridCol>
              </a:tblGrid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7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6005151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6502746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1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3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7076579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7225873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5281374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0649282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8862270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A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96946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8076373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1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7026292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9362027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2761064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508026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4056853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822112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8. 3. 2022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7557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80C1C51-5420-4BAE-9BD0-96A6F5CF0060}"/>
              </a:ext>
            </a:extLst>
          </p:cNvPr>
          <p:cNvGraphicFramePr>
            <a:graphicFrameLocks noGrp="1"/>
          </p:cNvGraphicFramePr>
          <p:nvPr/>
        </p:nvGraphicFramePr>
        <p:xfrm>
          <a:off x="3787232" y="1996276"/>
          <a:ext cx="7347932" cy="3996645"/>
        </p:xfrm>
        <a:graphic>
          <a:graphicData uri="http://schemas.openxmlformats.org/drawingml/2006/table">
            <a:tbl>
              <a:tblPr/>
              <a:tblGrid>
                <a:gridCol w="1836983">
                  <a:extLst>
                    <a:ext uri="{9D8B030D-6E8A-4147-A177-3AD203B41FA5}">
                      <a16:colId xmlns:a16="http://schemas.microsoft.com/office/drawing/2014/main" val="1675775590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3008427245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2105680456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2966568585"/>
                    </a:ext>
                  </a:extLst>
                </a:gridCol>
              </a:tblGrid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157585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8357703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6184024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0499557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1542025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8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397633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83455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4081502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5963955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1799693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0084152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678007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824155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0648419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057324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53 / 5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87 / 15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 (66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 (206 / 22 / 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9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2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3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4 / 5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8 / 5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6 / 7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1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55 / 12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7 / 4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7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3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(67 / 7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4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0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4 / 3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6 / 6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3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63 / 10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6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5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7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8 / 2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0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4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2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5 / 6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-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-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- / 5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1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32 / 4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57 / 6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0 / 1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67 / 7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7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 (134 / 8 / 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5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26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11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52 / 4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5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3 / 2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8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6 / 4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8 / 7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39 / 10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34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 (91 / 17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 (179 / 41 / 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3 (428 / 66 / 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2 (311 / 3 / 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2 (918 / 110 / 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12. 3. – 18. 3. 2022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00071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C0D3B3-E868-48ED-8B20-E96346203717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75D422DF-F902-4FEB-95E0-74A260757A7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9954448" y="579624"/>
          <a:ext cx="223755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55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7CE6062-A746-4B16-BD2A-949B93077515}"/>
              </a:ext>
            </a:extLst>
          </p:cNvPr>
          <p:cNvGrpSpPr/>
          <p:nvPr/>
        </p:nvGrpSpPr>
        <p:grpSpPr>
          <a:xfrm>
            <a:off x="9452933" y="121887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7563C-7EBE-4F25-BEB6-D430463D6421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8167A6-4279-4A9B-B47B-88A5FD918BA6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FAA41837-EA61-4D95-BFBF-CF1F1DFE6706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74FBC42-11C1-4BC7-9954-6FCB54E0D20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45855" y="1107964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</p:spTree>
    <p:extLst>
      <p:ext uri="{BB962C8B-B14F-4D97-AF65-F5344CB8AC3E}">
        <p14:creationId xmlns:p14="http://schemas.microsoft.com/office/powerpoint/2010/main" val="16116252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35052" y="439712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49BE471-0E2C-462B-8FF7-F5902000E2F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2533" y="5503310"/>
            <a:ext cx="117652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klesá, což je mimo jiné důsledek šíření varianty Omikron a jejích vysoce nakažlivých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variant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Zdravotničtí pracovníci jsou v tomto ohledu důležitý model, jde o profesní skupinu primárně vystavenou riziku nákazy. Zásadním fakt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316CE1F9-FF0D-46C3-8234-4B87BF66C88B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74256" y="377523"/>
          <a:ext cx="11145281" cy="5165892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8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0.56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7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48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.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4.03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4.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0.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1.88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66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42.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6.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0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.57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2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93.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7.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4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1.94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5.52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39644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66.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8.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96.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4.87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.24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88.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06.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13.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2.84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6.9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824829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65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0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66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.82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8.4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9928031"/>
                  </a:ext>
                </a:extLst>
              </a:tr>
            </a:tbl>
          </a:graphicData>
        </a:graphic>
      </p:graphicFrame>
      <p:sp>
        <p:nvSpPr>
          <p:cNvPr id="9" name="TextBox 6">
            <a:extLst>
              <a:ext uri="{FF2B5EF4-FFF2-40B4-BE49-F238E27FC236}">
                <a16:creationId xmlns:a16="http://schemas.microsoft.com/office/drawing/2014/main" id="{88D59402-44A7-484E-A9FC-6E0E986A6C4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450588" y="432861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18.3. 2022</a:t>
            </a:r>
          </a:p>
        </p:txBody>
      </p:sp>
    </p:spTree>
    <p:extLst>
      <p:ext uri="{BB962C8B-B14F-4D97-AF65-F5344CB8AC3E}">
        <p14:creationId xmlns:p14="http://schemas.microsoft.com/office/powerpoint/2010/main" val="40959667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8. 3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188876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27676BE-FED5-4891-A49E-5B33074F0EA5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407510" y="1169485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245294" y="6380943"/>
            <a:ext cx="11946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018366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1433215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5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2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5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5 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8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8. 3. 2022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8. 3. 2022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2298218"/>
              </p:ext>
            </p:extLst>
          </p:nvPr>
        </p:nvGraphicFramePr>
        <p:xfrm>
          <a:off x="356587" y="1390934"/>
          <a:ext cx="11130563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1546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4729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018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018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4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1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6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5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2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32260732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18. 3. 2022</a:t>
            </a:r>
            <a:endParaRPr lang="cs-CZ" b="1" dirty="0">
              <a:solidFill>
                <a:schemeClr val="bg1"/>
              </a:solidFill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lang="pl-PL" sz="1100" dirty="0"/>
              <a:t>v období od 1.9.2021 do současnosti </a:t>
            </a:r>
            <a:r>
              <a:rPr lang="cs-CZ" sz="1100" dirty="0"/>
              <a:t>(v ambulantním sektoru mohou být tyto počty mírně nedohlášené). 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* Přeočkování posilující dávkou je možné pro osoby, které mají nejméně 6 měsíců (v této analýze 182 dnů) po aplikaci ukončovací (druhé) dávky.</a:t>
            </a:r>
          </a:p>
          <a:p>
            <a:r>
              <a:rPr lang="cs-CZ" sz="1100" dirty="0"/>
              <a:t>** Jeden zdravotnický pracovník může působit ve více krajích, do celkového počtu je zahrnut pouze jednou. </a:t>
            </a:r>
          </a:p>
        </p:txBody>
      </p:sp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300A08B3-B18A-4DE9-97BC-1912730507AF}"/>
              </a:ext>
            </a:extLst>
          </p:cNvPr>
          <p:cNvGraphicFramePr>
            <a:graphicFrameLocks noGrp="1"/>
          </p:cNvGraphicFramePr>
          <p:nvPr/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1001822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82608376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41392143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067111112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8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8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5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9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7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5 5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 4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3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8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8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3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52869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8. 3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/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81 (8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281 (75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15 (12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 (0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8 (3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44 (8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401 (84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873 (61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932 (21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6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31 (9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64 (6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138 (81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315 (5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306 (24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7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64 (10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85 (8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09 (7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35 (56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90 (23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9 (1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5 (10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7 (8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2 (54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9 (25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0 (11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6 (7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91 (82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79 (57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67 (24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3 (1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2 (7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3 (87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7 (67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2 (19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5 (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 (5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19 (7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67 (51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8 (24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6 (12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2 (10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49 (82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91 (57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4 (24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9 (10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4 (6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01 (8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31 (56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69 (24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3 (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3 (8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620 (83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6 469 (62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1 853 (20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 298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 663 (8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 793 (7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781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8. 3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/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/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5 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2 4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8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6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0 0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5517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  <p:tag name="SLIDEFAB_SHAPECONDITIONMETACTIONDELETE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761</TotalTime>
  <Words>9507</Words>
  <Application>Microsoft Office PowerPoint</Application>
  <PresentationFormat>Širokoúhlá obrazovka</PresentationFormat>
  <Paragraphs>2118</Paragraphs>
  <Slides>38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38</vt:i4>
      </vt:variant>
    </vt:vector>
  </HeadingPairs>
  <TitlesOfParts>
    <vt:vector size="44" baseType="lpstr">
      <vt:lpstr>Calibri</vt:lpstr>
      <vt:lpstr>Arial</vt:lpstr>
      <vt:lpstr>Calibri Light</vt:lpstr>
      <vt:lpstr>Motiv Office</vt:lpstr>
      <vt:lpstr>3_Motiv Office</vt:lpstr>
      <vt:lpstr>1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/2021 – 03/2022</vt:lpstr>
      <vt:lpstr>Přehled povolání u COVID-19 pozitivních ostatních zdravotnických pracovníků za období 10/2021 – 03/2022</vt:lpstr>
      <vt:lpstr>Přehled povolání u COVID-19 pozitivních ostatních zdravotnických pracovníků za období 01-03/2022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876</cp:revision>
  <dcterms:created xsi:type="dcterms:W3CDTF">2020-11-11T17:36:28Z</dcterms:created>
  <dcterms:modified xsi:type="dcterms:W3CDTF">2022-03-20T15:43:25Z</dcterms:modified>
</cp:coreProperties>
</file>